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0"/>
  </p:notesMasterIdLst>
  <p:sldIdLst>
    <p:sldId id="317" r:id="rId2"/>
    <p:sldId id="3322" r:id="rId3"/>
    <p:sldId id="4199" r:id="rId4"/>
    <p:sldId id="4089" r:id="rId5"/>
    <p:sldId id="4200" r:id="rId6"/>
    <p:sldId id="4226" r:id="rId7"/>
    <p:sldId id="4211" r:id="rId8"/>
    <p:sldId id="4229" r:id="rId9"/>
    <p:sldId id="4225" r:id="rId10"/>
    <p:sldId id="4230" r:id="rId11"/>
    <p:sldId id="4213" r:id="rId12"/>
    <p:sldId id="4219" r:id="rId13"/>
    <p:sldId id="4224" r:id="rId14"/>
    <p:sldId id="4221" r:id="rId15"/>
    <p:sldId id="4222" r:id="rId16"/>
    <p:sldId id="4210" r:id="rId17"/>
    <p:sldId id="4209" r:id="rId18"/>
    <p:sldId id="4201" r:id="rId19"/>
    <p:sldId id="4274" r:id="rId20"/>
    <p:sldId id="4276" r:id="rId21"/>
    <p:sldId id="4232" r:id="rId22"/>
    <p:sldId id="4207" r:id="rId23"/>
    <p:sldId id="4233" r:id="rId24"/>
    <p:sldId id="4242" r:id="rId25"/>
    <p:sldId id="4243" r:id="rId26"/>
    <p:sldId id="4245" r:id="rId27"/>
    <p:sldId id="4220" r:id="rId28"/>
    <p:sldId id="4273" r:id="rId29"/>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5473"/>
    <a:srgbClr val="EC2179"/>
    <a:srgbClr val="4472C4"/>
    <a:srgbClr val="ED7D31"/>
    <a:srgbClr val="FFC000"/>
    <a:srgbClr val="70AD47"/>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5593"/>
    <p:restoredTop sz="94721"/>
  </p:normalViewPr>
  <p:slideViewPr>
    <p:cSldViewPr snapToGrid="0" snapToObjects="1">
      <p:cViewPr>
        <p:scale>
          <a:sx n="66" d="100"/>
          <a:sy n="66" d="100"/>
        </p:scale>
        <p:origin x="-468" y="41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BA4C8819-8146-8441-A609-42AD66A2BEDA}"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8C56B131-3E0C-5F41-86A4-98F96D39F171}" type="slidenum">
              <a:rPr lang="x-none" smtClean="0"/>
              <a:t>‹#›</a:t>
            </a:fld>
            <a:endParaRPr lang="x-none"/>
          </a:p>
        </p:txBody>
      </p:sp>
    </p:spTree>
    <p:extLst>
      <p:ext uri="{BB962C8B-B14F-4D97-AF65-F5344CB8AC3E}">
        <p14:creationId xmlns:p14="http://schemas.microsoft.com/office/powerpoint/2010/main" val="10691364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650794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40382136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29446430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29577937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496822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1996369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30113469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208597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3244484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38302347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354115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39933566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37625379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24971777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40839341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13890015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9425724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26841405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1102391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1215833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4103174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2814173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2990614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3837108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5509474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2353028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246F77F-91D8-384D-8C19-D656F8804589}"/>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47E3BA3B-E56A-5946-B900-701FCB67147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4053488D-A4CE-014C-B29D-C3D0B71B0439}"/>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00E38C67-840B-A046-BD57-E6951648C97A}"/>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775F1A09-9BE6-4E47-B214-24192D18B594}"/>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5835648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DB04642-9EA5-E64B-997A-C8F691077722}"/>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74794ED1-5169-3448-8202-E240D216880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1E42EB9-7023-CC45-9736-139B628A9042}"/>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719D6A52-3883-FD40-9C0A-33E0E528CE2D}"/>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295BB1E3-91F8-8440-B0D5-0B4516319603}"/>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13249880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29A666B8-1751-174B-B9F5-27D068C6BC5F}"/>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1042A416-69A4-7746-BF24-42B7AB093347}"/>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02B24F09-8DD5-2248-ADBF-1FFE1FA5E52C}"/>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A35D0CB3-78CE-884A-9421-37CFA6F21229}"/>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F389F85E-B660-EF47-B339-F09CCD8B5EE5}"/>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32184035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27472467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1873001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920975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BA1D776-7E2C-9749-956E-0070BB41E9BF}"/>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C6ED6CD5-D50A-9341-833D-792E4759DBED}"/>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88444D3A-AACF-5A4C-8961-97C68AC085C9}"/>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C008BA2E-438E-4D42-9CF2-432DCAC44332}"/>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C51FEF80-AFD7-1A42-9A91-3DAAA921031D}"/>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1479030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C0A5CC-4D26-C545-A3CB-6B8E684895A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70AEDCA-4CA0-224F-8BC0-5EFBCC3ED6C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F547C649-0939-364F-9CEE-D871A09681DE}"/>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8F15B30C-7D95-6348-865C-B352BEBBE60F}"/>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7744D6D8-6FD5-2549-ADA3-F5FA870D54F3}"/>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39697680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F2D4A20-0237-7842-89D5-85A10C83DA6F}"/>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9BDD8C9-A000-5C43-B778-465A206D856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83FE2D60-6E0F-F64D-BE6F-D000E4CDA5F6}"/>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FE22BE44-5BEC-7141-A162-5D5103F63148}"/>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6" name="Footer Placeholder 5">
            <a:extLst>
              <a:ext uri="{FF2B5EF4-FFF2-40B4-BE49-F238E27FC236}">
                <a16:creationId xmlns:a16="http://schemas.microsoft.com/office/drawing/2014/main" xmlns="" id="{A9A550C0-D296-EE4D-B603-D12A45AF6D1F}"/>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68EB4E1F-6A19-2048-B0B6-EDA7227E2ADC}"/>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36317611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FF8367F-860E-9E43-992F-B57B10116FEE}"/>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078D2AE4-2751-5F4D-83D2-07252F4821C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8F4FF8BA-FDCD-744E-A144-A8C921B43EAF}"/>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C15F069-345A-F149-86DF-C2ED3729CC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8A9BC2D2-ECD1-9C40-B2B1-CF10B40CD2D2}"/>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B2919DA6-2315-454F-92AD-A249989D5C0B}"/>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8" name="Footer Placeholder 7">
            <a:extLst>
              <a:ext uri="{FF2B5EF4-FFF2-40B4-BE49-F238E27FC236}">
                <a16:creationId xmlns:a16="http://schemas.microsoft.com/office/drawing/2014/main" xmlns="" id="{1C296222-15E6-534B-9A89-3E1900E31F3C}"/>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E8829519-B885-4D49-A255-CE80873FCDF8}"/>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30173503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2EA6C7C-C70F-AE4F-800F-07E2F9FAC819}"/>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4F22E11A-4366-1C42-BA0E-668EF8D77726}"/>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4" name="Footer Placeholder 3">
            <a:extLst>
              <a:ext uri="{FF2B5EF4-FFF2-40B4-BE49-F238E27FC236}">
                <a16:creationId xmlns:a16="http://schemas.microsoft.com/office/drawing/2014/main" xmlns="" id="{97548ED5-3C3E-1C4E-8E25-E1DC7E1E2DC0}"/>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3E8D57CF-8E46-C042-A610-A7D74B324A53}"/>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24715825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18C71739-6D11-1141-8761-DAD49AE4C767}"/>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3" name="Footer Placeholder 2">
            <a:extLst>
              <a:ext uri="{FF2B5EF4-FFF2-40B4-BE49-F238E27FC236}">
                <a16:creationId xmlns:a16="http://schemas.microsoft.com/office/drawing/2014/main" xmlns="" id="{BB878C08-08BA-CF4C-BA5E-91EFB7F0C9C2}"/>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9459D281-EBD3-704B-9CAB-FF75641DB534}"/>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18153412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9AC5A8B-5839-0242-A056-B03B263BB0F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376C303E-731C-2641-89C6-EA8E76C6B3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449B3070-0563-C245-A827-1D57D6F368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FEA2F423-CE58-EE4E-B95E-5575C29D7C33}"/>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6" name="Footer Placeholder 5">
            <a:extLst>
              <a:ext uri="{FF2B5EF4-FFF2-40B4-BE49-F238E27FC236}">
                <a16:creationId xmlns:a16="http://schemas.microsoft.com/office/drawing/2014/main" xmlns="" id="{F905632E-7E06-F341-ADFF-AC6F8C879884}"/>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2B735B08-1D28-3342-8CCF-0F2B58217F15}"/>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1655515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EA658C-6CC9-0443-B04E-F9C8DDB9DAE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11A19E77-D6DB-F847-93E3-7FDBF1D42D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46816294-B423-5347-BF62-FC05C66BE81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23DE55EE-E170-0A4B-A988-68F7EFFBE5DF}"/>
              </a:ext>
            </a:extLst>
          </p:cNvPr>
          <p:cNvSpPr>
            <a:spLocks noGrp="1"/>
          </p:cNvSpPr>
          <p:nvPr>
            <p:ph type="dt" sz="half" idx="10"/>
          </p:nvPr>
        </p:nvSpPr>
        <p:spPr/>
        <p:txBody>
          <a:bodyPr/>
          <a:lstStyle/>
          <a:p>
            <a:fld id="{F2EC7EF9-AD17-284C-861A-F4DF46F3C8A3}" type="datetimeFigureOut">
              <a:rPr lang="x-none" smtClean="0"/>
              <a:t>21/04/2022</a:t>
            </a:fld>
            <a:endParaRPr lang="x-none"/>
          </a:p>
        </p:txBody>
      </p:sp>
      <p:sp>
        <p:nvSpPr>
          <p:cNvPr id="6" name="Footer Placeholder 5">
            <a:extLst>
              <a:ext uri="{FF2B5EF4-FFF2-40B4-BE49-F238E27FC236}">
                <a16:creationId xmlns:a16="http://schemas.microsoft.com/office/drawing/2014/main" xmlns="" id="{7DEDCB95-93E9-F64C-800A-8BF6B62E4551}"/>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EB2EA7BB-BFF5-8E4E-AB74-F942FBE9EBB1}"/>
              </a:ext>
            </a:extLst>
          </p:cNvPr>
          <p:cNvSpPr>
            <a:spLocks noGrp="1"/>
          </p:cNvSpPr>
          <p:nvPr>
            <p:ph type="sldNum" sz="quarter" idx="12"/>
          </p:nvPr>
        </p:nvSpPr>
        <p:spPr/>
        <p:txBody>
          <a:bodyPr/>
          <a:lstStyle/>
          <a:p>
            <a:fld id="{BDCF6836-2D51-EE41-9CA4-AD924796E213}" type="slidenum">
              <a:rPr lang="x-none" smtClean="0"/>
              <a:t>‹#›</a:t>
            </a:fld>
            <a:endParaRPr lang="x-none"/>
          </a:p>
        </p:txBody>
      </p:sp>
    </p:spTree>
    <p:extLst>
      <p:ext uri="{BB962C8B-B14F-4D97-AF65-F5344CB8AC3E}">
        <p14:creationId xmlns:p14="http://schemas.microsoft.com/office/powerpoint/2010/main" val="23794756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FA83433-18C4-304E-9AF4-5F4467CA0CD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DC48E506-8F78-4840-87CF-B7D6404FA9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25C447E-06E7-1C43-883C-52FF6F407E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EC7EF9-AD17-284C-861A-F4DF46F3C8A3}" type="datetimeFigureOut">
              <a:rPr lang="x-none" smtClean="0"/>
              <a:t>21/04/2022</a:t>
            </a:fld>
            <a:endParaRPr lang="x-none"/>
          </a:p>
        </p:txBody>
      </p:sp>
      <p:sp>
        <p:nvSpPr>
          <p:cNvPr id="5" name="Footer Placeholder 4">
            <a:extLst>
              <a:ext uri="{FF2B5EF4-FFF2-40B4-BE49-F238E27FC236}">
                <a16:creationId xmlns:a16="http://schemas.microsoft.com/office/drawing/2014/main" xmlns="" id="{172F4534-549F-3748-8122-FFBC57CCAD5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D4B0DAB4-5930-9148-B933-2FF7599D76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CF6836-2D51-EE41-9CA4-AD924796E213}" type="slidenum">
              <a:rPr lang="x-none" smtClean="0"/>
              <a:t>‹#›</a:t>
            </a:fld>
            <a:endParaRPr lang="x-none"/>
          </a:p>
        </p:txBody>
      </p:sp>
    </p:spTree>
    <p:extLst>
      <p:ext uri="{BB962C8B-B14F-4D97-AF65-F5344CB8AC3E}">
        <p14:creationId xmlns:p14="http://schemas.microsoft.com/office/powerpoint/2010/main" val="13640894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6.xml"/><Relationship Id="rId1" Type="http://schemas.openxmlformats.org/officeDocument/2006/relationships/slideLayout" Target="../slideLayouts/slideLayout13.xml"/><Relationship Id="rId4" Type="http://schemas.openxmlformats.org/officeDocument/2006/relationships/image" Target="../media/image9.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2" y="4930199"/>
            <a:ext cx="9128102" cy="697353"/>
          </a:xfrm>
        </p:spPr>
        <p:txBody>
          <a:bodyPr/>
          <a:lstStyle/>
          <a:p>
            <a:r>
              <a:rPr lang="en-GB" sz="3600" dirty="0"/>
              <a:t>Risk Management + Root-Cause-Analysis</a:t>
            </a:r>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odule 4 </a:t>
            </a:r>
          </a:p>
        </p:txBody>
      </p:sp>
      <p:sp>
        <p:nvSpPr>
          <p:cNvPr id="5" name="TextBox 4">
            <a:extLst>
              <a:ext uri="{FF2B5EF4-FFF2-40B4-BE49-F238E27FC236}">
                <a16:creationId xmlns:a16="http://schemas.microsoft.com/office/drawing/2014/main" xmlns="" id="{EB1EC615-0C3F-4E29-9A86-6AFF29E08972}"/>
              </a:ext>
            </a:extLst>
          </p:cNvPr>
          <p:cNvSpPr txBox="1"/>
          <p:nvPr/>
        </p:nvSpPr>
        <p:spPr>
          <a:xfrm>
            <a:off x="615043" y="5934670"/>
            <a:ext cx="10542814" cy="1354217"/>
          </a:xfrm>
          <a:prstGeom prst="rect">
            <a:avLst/>
          </a:prstGeom>
          <a:noFill/>
        </p:spPr>
        <p:txBody>
          <a:bodyPr wrap="square">
            <a:spAutoFit/>
          </a:bodyPr>
          <a:lstStyle/>
          <a:p>
            <a:r>
              <a:rPr lang="en-GB" sz="16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p>
          <a:p>
            <a:r>
              <a:rPr lang="en-GB" sz="1600"/>
              <a:t> </a:t>
            </a:r>
          </a:p>
          <a:p>
            <a:endParaRPr lang="en-IE" sz="1600" dirty="0">
              <a:solidFill>
                <a:schemeClr val="bg1"/>
              </a:solidFill>
            </a:endParaRPr>
          </a:p>
        </p:txBody>
      </p:sp>
    </p:spTree>
    <p:extLst>
      <p:ext uri="{BB962C8B-B14F-4D97-AF65-F5344CB8AC3E}">
        <p14:creationId xmlns:p14="http://schemas.microsoft.com/office/powerpoint/2010/main" val="4104720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40165" y="502163"/>
            <a:ext cx="8852375" cy="697353"/>
          </a:xfrm>
        </p:spPr>
        <p:txBody>
          <a:bodyPr>
            <a:normAutofit fontScale="92500"/>
          </a:bodyPr>
          <a:lstStyle/>
          <a:p>
            <a:r>
              <a:rPr lang="en-GB" dirty="0"/>
              <a:t>Involving People: Role of HR in Risk Manageme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8584" y="2161572"/>
            <a:ext cx="3373102"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ncluding human resources in risk management reflects the fact that people are fundamental to accomplishing goals. Human resources affect most production, financial, and marketing decisions. People can help or get in the way of accomplishing what managers have planned.</a:t>
            </a:r>
          </a:p>
        </p:txBody>
      </p:sp>
      <p:sp>
        <p:nvSpPr>
          <p:cNvPr id="14" name="Freeform 47">
            <a:extLst>
              <a:ext uri="{FF2B5EF4-FFF2-40B4-BE49-F238E27FC236}">
                <a16:creationId xmlns:a16="http://schemas.microsoft.com/office/drawing/2014/main" xmlns="" id="{BF74BAE4-B085-4FB9-8303-D2D462F45D52}"/>
              </a:ext>
            </a:extLst>
          </p:cNvPr>
          <p:cNvSpPr>
            <a:spLocks noChangeArrowheads="1"/>
          </p:cNvSpPr>
          <p:nvPr/>
        </p:nvSpPr>
        <p:spPr bwMode="auto">
          <a:xfrm>
            <a:off x="6989465" y="2146189"/>
            <a:ext cx="1425543" cy="982595"/>
          </a:xfrm>
          <a:custGeom>
            <a:avLst/>
            <a:gdLst>
              <a:gd name="connsiteX0" fmla="*/ 1364697 w 3800459"/>
              <a:gd name="connsiteY0" fmla="*/ 56 h 2619571"/>
              <a:gd name="connsiteX1" fmla="*/ 1615739 w 3800459"/>
              <a:gd name="connsiteY1" fmla="*/ 9261 h 2619571"/>
              <a:gd name="connsiteX2" fmla="*/ 3629652 w 3800459"/>
              <a:gd name="connsiteY2" fmla="*/ 664055 h 2619571"/>
              <a:gd name="connsiteX3" fmla="*/ 3800459 w 3800459"/>
              <a:gd name="connsiteY3" fmla="*/ 783476 h 2619571"/>
              <a:gd name="connsiteX4" fmla="*/ 620252 w 3800459"/>
              <a:gd name="connsiteY4" fmla="*/ 2619571 h 2619571"/>
              <a:gd name="connsiteX5" fmla="*/ 0 w 3800459"/>
              <a:gd name="connsiteY5" fmla="*/ 304759 h 2619571"/>
              <a:gd name="connsiteX6" fmla="*/ 82031 w 3800459"/>
              <a:gd name="connsiteY6" fmla="*/ 269425 h 2619571"/>
              <a:gd name="connsiteX7" fmla="*/ 1364697 w 3800459"/>
              <a:gd name="connsiteY7" fmla="*/ 56 h 261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0459" h="2619571">
                <a:moveTo>
                  <a:pt x="1364697" y="56"/>
                </a:moveTo>
                <a:cubicBezTo>
                  <a:pt x="1448069" y="-454"/>
                  <a:pt x="1531759" y="2548"/>
                  <a:pt x="1615739" y="9261"/>
                </a:cubicBezTo>
                <a:cubicBezTo>
                  <a:pt x="2353364" y="68518"/>
                  <a:pt x="3032836" y="273956"/>
                  <a:pt x="3629652" y="664055"/>
                </a:cubicBezTo>
                <a:lnTo>
                  <a:pt x="3800459" y="783476"/>
                </a:lnTo>
                <a:lnTo>
                  <a:pt x="620252" y="2619571"/>
                </a:lnTo>
                <a:lnTo>
                  <a:pt x="0" y="304759"/>
                </a:lnTo>
                <a:lnTo>
                  <a:pt x="82031" y="269425"/>
                </a:lnTo>
                <a:cubicBezTo>
                  <a:pt x="498080" y="102187"/>
                  <a:pt x="926998" y="2732"/>
                  <a:pt x="1364697" y="56"/>
                </a:cubicBezTo>
                <a:close/>
              </a:path>
            </a:pathLst>
          </a:custGeom>
          <a:solidFill>
            <a:schemeClr val="accent1">
              <a:lumMod val="75000"/>
            </a:schemeClr>
          </a:solidFill>
          <a:ln>
            <a:noFill/>
          </a:ln>
          <a:effectLst/>
        </p:spPr>
        <p:txBody>
          <a:bodyPr wrap="square" anchor="ctr">
            <a:noAutofit/>
          </a:bodyPr>
          <a:lstStyle/>
          <a:p>
            <a:endParaRPr lang="en-GB" sz="1600" dirty="0"/>
          </a:p>
        </p:txBody>
      </p:sp>
      <p:sp>
        <p:nvSpPr>
          <p:cNvPr id="15" name="Freeform 40">
            <a:extLst>
              <a:ext uri="{FF2B5EF4-FFF2-40B4-BE49-F238E27FC236}">
                <a16:creationId xmlns:a16="http://schemas.microsoft.com/office/drawing/2014/main" xmlns="" id="{EC7FD73B-4463-411B-BC52-C738A80CE509}"/>
              </a:ext>
            </a:extLst>
          </p:cNvPr>
          <p:cNvSpPr>
            <a:spLocks noChangeArrowheads="1"/>
          </p:cNvSpPr>
          <p:nvPr/>
        </p:nvSpPr>
        <p:spPr bwMode="auto">
          <a:xfrm>
            <a:off x="7234986" y="2471828"/>
            <a:ext cx="1724518" cy="1592981"/>
          </a:xfrm>
          <a:custGeom>
            <a:avLst/>
            <a:gdLst>
              <a:gd name="connsiteX0" fmla="*/ 3255286 w 4597517"/>
              <a:gd name="connsiteY0" fmla="*/ 0 h 4246842"/>
              <a:gd name="connsiteX1" fmla="*/ 3360462 w 4597517"/>
              <a:gd name="connsiteY1" fmla="*/ 83755 h 4246842"/>
              <a:gd name="connsiteX2" fmla="*/ 4206135 w 4597517"/>
              <a:gd name="connsiteY2" fmla="*/ 1059370 h 4246842"/>
              <a:gd name="connsiteX3" fmla="*/ 4554160 w 4597517"/>
              <a:gd name="connsiteY3" fmla="*/ 1800470 h 4246842"/>
              <a:gd name="connsiteX4" fmla="*/ 4597517 w 4597517"/>
              <a:gd name="connsiteY4" fmla="*/ 1958702 h 4246842"/>
              <a:gd name="connsiteX5" fmla="*/ 634343 w 4597517"/>
              <a:gd name="connsiteY5" fmla="*/ 4246842 h 4246842"/>
              <a:gd name="connsiteX6" fmla="*/ 0 w 4597517"/>
              <a:gd name="connsiteY6" fmla="*/ 1879442 h 4246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7517" h="4246842">
                <a:moveTo>
                  <a:pt x="3255286" y="0"/>
                </a:moveTo>
                <a:lnTo>
                  <a:pt x="3360462" y="83755"/>
                </a:lnTo>
                <a:cubicBezTo>
                  <a:pt x="3670945" y="347128"/>
                  <a:pt x="3954237" y="670134"/>
                  <a:pt x="4206135" y="1059370"/>
                </a:cubicBezTo>
                <a:cubicBezTo>
                  <a:pt x="4353531" y="1286844"/>
                  <a:pt x="4469080" y="1533587"/>
                  <a:pt x="4554160" y="1800470"/>
                </a:cubicBezTo>
                <a:lnTo>
                  <a:pt x="4597517" y="1958702"/>
                </a:lnTo>
                <a:lnTo>
                  <a:pt x="634343" y="4246842"/>
                </a:lnTo>
                <a:lnTo>
                  <a:pt x="0" y="1879442"/>
                </a:lnTo>
                <a:close/>
              </a:path>
            </a:pathLst>
          </a:custGeom>
          <a:solidFill>
            <a:schemeClr val="accent2">
              <a:lumMod val="75000"/>
            </a:schemeClr>
          </a:solidFill>
          <a:ln>
            <a:noFill/>
          </a:ln>
          <a:effectLst/>
        </p:spPr>
        <p:txBody>
          <a:bodyPr wrap="square" anchor="ctr">
            <a:noAutofit/>
          </a:bodyPr>
          <a:lstStyle/>
          <a:p>
            <a:endParaRPr lang="en-GB" sz="1600" dirty="0"/>
          </a:p>
        </p:txBody>
      </p:sp>
      <p:sp>
        <p:nvSpPr>
          <p:cNvPr id="16" name="Freeform 36">
            <a:extLst>
              <a:ext uri="{FF2B5EF4-FFF2-40B4-BE49-F238E27FC236}">
                <a16:creationId xmlns:a16="http://schemas.microsoft.com/office/drawing/2014/main" xmlns="" id="{2649D60F-AE03-4588-82F8-CFDCDB7D38CD}"/>
              </a:ext>
            </a:extLst>
          </p:cNvPr>
          <p:cNvSpPr>
            <a:spLocks noChangeArrowheads="1"/>
          </p:cNvSpPr>
          <p:nvPr/>
        </p:nvSpPr>
        <p:spPr bwMode="auto">
          <a:xfrm>
            <a:off x="7485793" y="3254603"/>
            <a:ext cx="1525764" cy="1746230"/>
          </a:xfrm>
          <a:custGeom>
            <a:avLst/>
            <a:gdLst>
              <a:gd name="connsiteX0" fmla="*/ 3962932 w 4067645"/>
              <a:gd name="connsiteY0" fmla="*/ 0 h 4655400"/>
              <a:gd name="connsiteX1" fmla="*/ 4015460 w 4067645"/>
              <a:gd name="connsiteY1" fmla="*/ 274487 h 4655400"/>
              <a:gd name="connsiteX2" fmla="*/ 4063401 w 4067645"/>
              <a:gd name="connsiteY2" fmla="*/ 1219886 h 4655400"/>
              <a:gd name="connsiteX3" fmla="*/ 3578233 w 4067645"/>
              <a:gd name="connsiteY3" fmla="*/ 2818854 h 4655400"/>
              <a:gd name="connsiteX4" fmla="*/ 3446911 w 4067645"/>
              <a:gd name="connsiteY4" fmla="*/ 3031563 h 4655400"/>
              <a:gd name="connsiteX5" fmla="*/ 634343 w 4067645"/>
              <a:gd name="connsiteY5" fmla="*/ 4655400 h 4655400"/>
              <a:gd name="connsiteX6" fmla="*/ 0 w 4067645"/>
              <a:gd name="connsiteY6" fmla="*/ 2288000 h 465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7645" h="4655400">
                <a:moveTo>
                  <a:pt x="3962932" y="0"/>
                </a:moveTo>
                <a:lnTo>
                  <a:pt x="4015460" y="274487"/>
                </a:lnTo>
                <a:cubicBezTo>
                  <a:pt x="4060529" y="568608"/>
                  <a:pt x="4076050" y="883451"/>
                  <a:pt x="4063401" y="1219886"/>
                </a:cubicBezTo>
                <a:cubicBezTo>
                  <a:pt x="4031392" y="1750745"/>
                  <a:pt x="3869282" y="2305230"/>
                  <a:pt x="3578233" y="2818854"/>
                </a:cubicBezTo>
                <a:lnTo>
                  <a:pt x="3446911" y="3031563"/>
                </a:lnTo>
                <a:lnTo>
                  <a:pt x="634343" y="4655400"/>
                </a:lnTo>
                <a:lnTo>
                  <a:pt x="0" y="2288000"/>
                </a:lnTo>
                <a:close/>
              </a:path>
            </a:pathLst>
          </a:custGeom>
          <a:solidFill>
            <a:schemeClr val="accent3">
              <a:lumMod val="75000"/>
            </a:schemeClr>
          </a:solidFill>
          <a:ln>
            <a:noFill/>
          </a:ln>
          <a:effectLst/>
        </p:spPr>
        <p:txBody>
          <a:bodyPr wrap="square" anchor="ctr">
            <a:noAutofit/>
          </a:bodyPr>
          <a:lstStyle/>
          <a:p>
            <a:endParaRPr lang="en-GB" sz="1600" dirty="0"/>
          </a:p>
        </p:txBody>
      </p:sp>
      <p:sp>
        <p:nvSpPr>
          <p:cNvPr id="27" name="Freeform 51">
            <a:extLst>
              <a:ext uri="{FF2B5EF4-FFF2-40B4-BE49-F238E27FC236}">
                <a16:creationId xmlns:a16="http://schemas.microsoft.com/office/drawing/2014/main" xmlns="" id="{E137BC1A-E704-49B8-B52B-A35FE44F7D15}"/>
              </a:ext>
            </a:extLst>
          </p:cNvPr>
          <p:cNvSpPr>
            <a:spLocks noChangeArrowheads="1"/>
          </p:cNvSpPr>
          <p:nvPr/>
        </p:nvSpPr>
        <p:spPr bwMode="auto">
          <a:xfrm>
            <a:off x="7736601" y="4485627"/>
            <a:ext cx="975535" cy="1544821"/>
          </a:xfrm>
          <a:custGeom>
            <a:avLst/>
            <a:gdLst>
              <a:gd name="connsiteX0" fmla="*/ 2600749 w 2600749"/>
              <a:gd name="connsiteY0" fmla="*/ 0 h 4118450"/>
              <a:gd name="connsiteX1" fmla="*/ 2575602 w 2600749"/>
              <a:gd name="connsiteY1" fmla="*/ 34597 h 4118450"/>
              <a:gd name="connsiteX2" fmla="*/ 2080669 w 2600749"/>
              <a:gd name="connsiteY2" fmla="*/ 704541 h 4118450"/>
              <a:gd name="connsiteX3" fmla="*/ 1837675 w 2600749"/>
              <a:gd name="connsiteY3" fmla="*/ 2482334 h 4118450"/>
              <a:gd name="connsiteX4" fmla="*/ 2236927 w 2600749"/>
              <a:gd name="connsiteY4" fmla="*/ 3838056 h 4118450"/>
              <a:gd name="connsiteX5" fmla="*/ 2077915 w 2600749"/>
              <a:gd name="connsiteY5" fmla="*/ 4110716 h 4118450"/>
              <a:gd name="connsiteX6" fmla="*/ 764138 w 2600749"/>
              <a:gd name="connsiteY6" fmla="*/ 4117927 h 4118450"/>
              <a:gd name="connsiteX7" fmla="*/ 701037 w 2600749"/>
              <a:gd name="connsiteY7" fmla="*/ 4117850 h 4118450"/>
              <a:gd name="connsiteX8" fmla="*/ 0 w 2600749"/>
              <a:gd name="connsiteY8" fmla="*/ 1501543 h 411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0749" h="4118450">
                <a:moveTo>
                  <a:pt x="2600749" y="0"/>
                </a:moveTo>
                <a:lnTo>
                  <a:pt x="2575602" y="34597"/>
                </a:lnTo>
                <a:cubicBezTo>
                  <a:pt x="2404888" y="252174"/>
                  <a:pt x="2227979" y="462865"/>
                  <a:pt x="2080669" y="704541"/>
                </a:cubicBezTo>
                <a:cubicBezTo>
                  <a:pt x="1766086" y="1220252"/>
                  <a:pt x="1691743" y="1880555"/>
                  <a:pt x="1837675" y="2482334"/>
                </a:cubicBezTo>
                <a:cubicBezTo>
                  <a:pt x="1950567" y="2942963"/>
                  <a:pt x="2103385" y="3386378"/>
                  <a:pt x="2236927" y="3838056"/>
                </a:cubicBezTo>
                <a:cubicBezTo>
                  <a:pt x="2311959" y="4090060"/>
                  <a:pt x="2311959" y="4096945"/>
                  <a:pt x="2077915" y="4110716"/>
                </a:cubicBezTo>
                <a:cubicBezTo>
                  <a:pt x="1918903" y="4119753"/>
                  <a:pt x="1383329" y="4118774"/>
                  <a:pt x="764138" y="4117927"/>
                </a:cubicBezTo>
                <a:lnTo>
                  <a:pt x="701037" y="4117850"/>
                </a:lnTo>
                <a:lnTo>
                  <a:pt x="0" y="1501543"/>
                </a:lnTo>
                <a:close/>
              </a:path>
            </a:pathLst>
          </a:custGeom>
          <a:solidFill>
            <a:schemeClr val="accent4">
              <a:lumMod val="75000"/>
            </a:schemeClr>
          </a:solidFill>
          <a:ln>
            <a:noFill/>
          </a:ln>
          <a:effectLst/>
        </p:spPr>
        <p:txBody>
          <a:bodyPr wrap="square" anchor="ctr">
            <a:noAutofit/>
          </a:bodyPr>
          <a:lstStyle/>
          <a:p>
            <a:endParaRPr lang="en-GB" sz="1600" dirty="0"/>
          </a:p>
        </p:txBody>
      </p:sp>
      <p:sp>
        <p:nvSpPr>
          <p:cNvPr id="28" name="Freeform 45">
            <a:extLst>
              <a:ext uri="{FF2B5EF4-FFF2-40B4-BE49-F238E27FC236}">
                <a16:creationId xmlns:a16="http://schemas.microsoft.com/office/drawing/2014/main" xmlns="" id="{E24D1ED2-CB62-4E46-A7E7-1A8AF653CFD7}"/>
              </a:ext>
            </a:extLst>
          </p:cNvPr>
          <p:cNvSpPr>
            <a:spLocks noChangeArrowheads="1"/>
          </p:cNvSpPr>
          <p:nvPr/>
        </p:nvSpPr>
        <p:spPr bwMode="auto">
          <a:xfrm>
            <a:off x="6096287" y="2279701"/>
            <a:ext cx="1082781" cy="1499083"/>
          </a:xfrm>
          <a:custGeom>
            <a:avLst/>
            <a:gdLst>
              <a:gd name="connsiteX0" fmla="*/ 2262371 w 2886665"/>
              <a:gd name="connsiteY0" fmla="*/ 0 h 3996514"/>
              <a:gd name="connsiteX1" fmla="*/ 2886665 w 2886665"/>
              <a:gd name="connsiteY1" fmla="*/ 2329898 h 3996514"/>
              <a:gd name="connsiteX2" fmla="*/ 0 w 2886665"/>
              <a:gd name="connsiteY2" fmla="*/ 3996514 h 3996514"/>
              <a:gd name="connsiteX3" fmla="*/ 68606 w 2886665"/>
              <a:gd name="connsiteY3" fmla="*/ 3869385 h 3996514"/>
              <a:gd name="connsiteX4" fmla="*/ 249474 w 2886665"/>
              <a:gd name="connsiteY4" fmla="*/ 2956906 h 3996514"/>
              <a:gd name="connsiteX5" fmla="*/ 1650295 w 2886665"/>
              <a:gd name="connsiteY5" fmla="*/ 326019 h 3996514"/>
              <a:gd name="connsiteX6" fmla="*/ 2051612 w 2886665"/>
              <a:gd name="connsiteY6" fmla="*/ 102246 h 3996514"/>
              <a:gd name="connsiteX7" fmla="*/ 2256287 w 2886665"/>
              <a:gd name="connsiteY7" fmla="*/ 2620 h 399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665" h="3996514">
                <a:moveTo>
                  <a:pt x="2262371" y="0"/>
                </a:moveTo>
                <a:lnTo>
                  <a:pt x="2886665" y="2329898"/>
                </a:lnTo>
                <a:lnTo>
                  <a:pt x="0" y="3996514"/>
                </a:lnTo>
                <a:lnTo>
                  <a:pt x="68606" y="3869385"/>
                </a:lnTo>
                <a:cubicBezTo>
                  <a:pt x="193888" y="3603267"/>
                  <a:pt x="261520" y="3303583"/>
                  <a:pt x="249474" y="2956906"/>
                </a:cubicBezTo>
                <a:cubicBezTo>
                  <a:pt x="205419" y="1720299"/>
                  <a:pt x="721692" y="875469"/>
                  <a:pt x="1650295" y="326019"/>
                </a:cubicBezTo>
                <a:cubicBezTo>
                  <a:pt x="1782461" y="247526"/>
                  <a:pt x="1915315" y="171788"/>
                  <a:pt x="2051612" y="102246"/>
                </a:cubicBezTo>
                <a:cubicBezTo>
                  <a:pt x="2119448" y="67378"/>
                  <a:pt x="2187680" y="34125"/>
                  <a:pt x="2256287" y="2620"/>
                </a:cubicBezTo>
                <a:close/>
              </a:path>
            </a:pathLst>
          </a:custGeom>
          <a:solidFill>
            <a:schemeClr val="accent1"/>
          </a:solidFill>
          <a:ln>
            <a:noFill/>
          </a:ln>
          <a:effectLst/>
        </p:spPr>
        <p:txBody>
          <a:bodyPr wrap="square" anchor="ctr">
            <a:noAutofit/>
          </a:bodyPr>
          <a:lstStyle/>
          <a:p>
            <a:endParaRPr lang="en-GB" sz="1600" dirty="0"/>
          </a:p>
        </p:txBody>
      </p:sp>
      <p:sp>
        <p:nvSpPr>
          <p:cNvPr id="29" name="Freeform 42">
            <a:extLst>
              <a:ext uri="{FF2B5EF4-FFF2-40B4-BE49-F238E27FC236}">
                <a16:creationId xmlns:a16="http://schemas.microsoft.com/office/drawing/2014/main" xmlns="" id="{6BA697CF-49E9-440F-9C8D-8B4620849DA6}"/>
              </a:ext>
            </a:extLst>
          </p:cNvPr>
          <p:cNvSpPr>
            <a:spLocks noChangeArrowheads="1"/>
          </p:cNvSpPr>
          <p:nvPr/>
        </p:nvSpPr>
        <p:spPr bwMode="auto">
          <a:xfrm>
            <a:off x="5799084" y="3201658"/>
            <a:ext cx="1630790" cy="1688484"/>
          </a:xfrm>
          <a:custGeom>
            <a:avLst/>
            <a:gdLst>
              <a:gd name="connsiteX0" fmla="*/ 3713298 w 4347641"/>
              <a:gd name="connsiteY0" fmla="*/ 0 h 4501452"/>
              <a:gd name="connsiteX1" fmla="*/ 4347641 w 4347641"/>
              <a:gd name="connsiteY1" fmla="*/ 2367400 h 4501452"/>
              <a:gd name="connsiteX2" fmla="*/ 651352 w 4347641"/>
              <a:gd name="connsiteY2" fmla="*/ 4501452 h 4501452"/>
              <a:gd name="connsiteX3" fmla="*/ 638620 w 4347641"/>
              <a:gd name="connsiteY3" fmla="*/ 4488396 h 4501452"/>
              <a:gd name="connsiteX4" fmla="*/ 647372 w 4347641"/>
              <a:gd name="connsiteY4" fmla="*/ 4195728 h 4501452"/>
              <a:gd name="connsiteX5" fmla="*/ 611577 w 4347641"/>
              <a:gd name="connsiteY5" fmla="*/ 4036677 h 4501452"/>
              <a:gd name="connsiteX6" fmla="*/ 539987 w 4347641"/>
              <a:gd name="connsiteY6" fmla="*/ 3638016 h 4501452"/>
              <a:gd name="connsiteX7" fmla="*/ 493867 w 4347641"/>
              <a:gd name="connsiteY7" fmla="*/ 3174633 h 4501452"/>
              <a:gd name="connsiteX8" fmla="*/ 157945 w 4347641"/>
              <a:gd name="connsiteY8" fmla="*/ 2913679 h 4501452"/>
              <a:gd name="connsiteX9" fmla="*/ 73965 w 4347641"/>
              <a:gd name="connsiteY9" fmla="*/ 2426197 h 4501452"/>
              <a:gd name="connsiteX10" fmla="*/ 334166 w 4347641"/>
              <a:gd name="connsiteY10" fmla="*/ 2122554 h 4501452"/>
              <a:gd name="connsiteX11" fmla="*/ 632529 w 4347641"/>
              <a:gd name="connsiteY11" fmla="*/ 1787152 h 4501452"/>
              <a:gd name="connsiteX12" fmla="*/ 642025 w 4347641"/>
              <a:gd name="connsiteY12" fmla="*/ 1773199 h 450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641" h="4501452">
                <a:moveTo>
                  <a:pt x="3713298" y="0"/>
                </a:moveTo>
                <a:lnTo>
                  <a:pt x="4347641" y="2367400"/>
                </a:lnTo>
                <a:lnTo>
                  <a:pt x="651352" y="4501452"/>
                </a:lnTo>
                <a:lnTo>
                  <a:pt x="638620" y="4488396"/>
                </a:lnTo>
                <a:cubicBezTo>
                  <a:pt x="567490" y="4405161"/>
                  <a:pt x="549195" y="4301762"/>
                  <a:pt x="647372" y="4195728"/>
                </a:cubicBezTo>
                <a:cubicBezTo>
                  <a:pt x="723781" y="4113104"/>
                  <a:pt x="665958" y="4080743"/>
                  <a:pt x="611577" y="4036677"/>
                </a:cubicBezTo>
                <a:cubicBezTo>
                  <a:pt x="409198" y="3874872"/>
                  <a:pt x="408510" y="3865920"/>
                  <a:pt x="539987" y="3638016"/>
                </a:cubicBezTo>
                <a:cubicBezTo>
                  <a:pt x="657698" y="3434898"/>
                  <a:pt x="647372" y="3337816"/>
                  <a:pt x="493867" y="3174633"/>
                </a:cubicBezTo>
                <a:cubicBezTo>
                  <a:pt x="393366" y="3067222"/>
                  <a:pt x="272214" y="2996303"/>
                  <a:pt x="157945" y="2913679"/>
                </a:cubicBezTo>
                <a:cubicBezTo>
                  <a:pt x="-21718" y="2784235"/>
                  <a:pt x="-45811" y="2631380"/>
                  <a:pt x="73965" y="2426197"/>
                </a:cubicBezTo>
                <a:cubicBezTo>
                  <a:pt x="144178" y="2305704"/>
                  <a:pt x="239172" y="2214129"/>
                  <a:pt x="334166" y="2122554"/>
                </a:cubicBezTo>
                <a:cubicBezTo>
                  <a:pt x="443444" y="2016348"/>
                  <a:pt x="543816" y="1905107"/>
                  <a:pt x="632529" y="1787152"/>
                </a:cubicBezTo>
                <a:lnTo>
                  <a:pt x="642025" y="1773199"/>
                </a:lnTo>
                <a:close/>
              </a:path>
            </a:pathLst>
          </a:custGeom>
          <a:solidFill>
            <a:schemeClr val="accent2"/>
          </a:solidFill>
          <a:ln>
            <a:noFill/>
          </a:ln>
          <a:effectLst/>
        </p:spPr>
        <p:txBody>
          <a:bodyPr wrap="square" anchor="ctr">
            <a:noAutofit/>
          </a:bodyPr>
          <a:lstStyle/>
          <a:p>
            <a:endParaRPr lang="en-GB" sz="1600" dirty="0"/>
          </a:p>
        </p:txBody>
      </p:sp>
      <p:sp>
        <p:nvSpPr>
          <p:cNvPr id="30" name="Freeform 38">
            <a:extLst>
              <a:ext uri="{FF2B5EF4-FFF2-40B4-BE49-F238E27FC236}">
                <a16:creationId xmlns:a16="http://schemas.microsoft.com/office/drawing/2014/main" xmlns="" id="{54BC8950-1A68-49DD-BE5B-1DC4469AE17F}"/>
              </a:ext>
            </a:extLst>
          </p:cNvPr>
          <p:cNvSpPr>
            <a:spLocks noChangeArrowheads="1"/>
          </p:cNvSpPr>
          <p:nvPr/>
        </p:nvSpPr>
        <p:spPr bwMode="auto">
          <a:xfrm>
            <a:off x="6060446" y="4137684"/>
            <a:ext cx="1620234" cy="1395679"/>
          </a:xfrm>
          <a:custGeom>
            <a:avLst/>
            <a:gdLst>
              <a:gd name="connsiteX0" fmla="*/ 3685157 w 4319500"/>
              <a:gd name="connsiteY0" fmla="*/ 0 h 3720842"/>
              <a:gd name="connsiteX1" fmla="*/ 4319500 w 4319500"/>
              <a:gd name="connsiteY1" fmla="*/ 2367399 h 3720842"/>
              <a:gd name="connsiteX2" fmla="*/ 2215776 w 4319500"/>
              <a:gd name="connsiteY2" fmla="*/ 3581985 h 3720842"/>
              <a:gd name="connsiteX3" fmla="*/ 2189888 w 4319500"/>
              <a:gd name="connsiteY3" fmla="*/ 3577096 h 3720842"/>
              <a:gd name="connsiteX4" fmla="*/ 1532447 w 4319500"/>
              <a:gd name="connsiteY4" fmla="*/ 3645419 h 3720842"/>
              <a:gd name="connsiteX5" fmla="*/ 411102 w 4319500"/>
              <a:gd name="connsiteY5" fmla="*/ 3667452 h 3720842"/>
              <a:gd name="connsiteX6" fmla="*/ 22864 w 4319500"/>
              <a:gd name="connsiteY6" fmla="*/ 2950000 h 3720842"/>
              <a:gd name="connsiteX7" fmla="*/ 106156 w 4319500"/>
              <a:gd name="connsiteY7" fmla="*/ 2487994 h 3720842"/>
              <a:gd name="connsiteX8" fmla="*/ 56497 w 4319500"/>
              <a:gd name="connsiteY8" fmla="*/ 2126644 h 3720842"/>
              <a:gd name="connsiteX9" fmla="*/ 40811 w 4319500"/>
              <a:gd name="connsiteY9" fmla="*/ 2104063 h 37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500" h="3720842">
                <a:moveTo>
                  <a:pt x="3685157" y="0"/>
                </a:moveTo>
                <a:lnTo>
                  <a:pt x="4319500" y="2367399"/>
                </a:lnTo>
                <a:lnTo>
                  <a:pt x="2215776" y="3581985"/>
                </a:lnTo>
                <a:lnTo>
                  <a:pt x="2189888" y="3577096"/>
                </a:lnTo>
                <a:cubicBezTo>
                  <a:pt x="1967622" y="3550230"/>
                  <a:pt x="1751089" y="3623128"/>
                  <a:pt x="1532447" y="3645419"/>
                </a:cubicBezTo>
                <a:cubicBezTo>
                  <a:pt x="1159354" y="3682600"/>
                  <a:pt x="786260" y="3781749"/>
                  <a:pt x="411102" y="3667452"/>
                </a:cubicBezTo>
                <a:cubicBezTo>
                  <a:pt x="52464" y="3558664"/>
                  <a:pt x="-52167" y="3365875"/>
                  <a:pt x="22864" y="2950000"/>
                </a:cubicBezTo>
                <a:cubicBezTo>
                  <a:pt x="51087" y="2796458"/>
                  <a:pt x="83440" y="2642914"/>
                  <a:pt x="106156" y="2487994"/>
                </a:cubicBezTo>
                <a:cubicBezTo>
                  <a:pt x="124743" y="2354763"/>
                  <a:pt x="118160" y="2231989"/>
                  <a:pt x="56497" y="2126644"/>
                </a:cubicBezTo>
                <a:lnTo>
                  <a:pt x="40811" y="2104063"/>
                </a:lnTo>
                <a:close/>
              </a:path>
            </a:pathLst>
          </a:custGeom>
          <a:solidFill>
            <a:schemeClr val="accent3"/>
          </a:solidFill>
          <a:ln>
            <a:noFill/>
          </a:ln>
          <a:effectLst/>
        </p:spPr>
        <p:txBody>
          <a:bodyPr wrap="square" anchor="ctr">
            <a:noAutofit/>
          </a:bodyPr>
          <a:lstStyle/>
          <a:p>
            <a:endParaRPr lang="en-GB" sz="1600" dirty="0"/>
          </a:p>
        </p:txBody>
      </p:sp>
      <p:sp>
        <p:nvSpPr>
          <p:cNvPr id="31" name="Freeform 49">
            <a:extLst>
              <a:ext uri="{FF2B5EF4-FFF2-40B4-BE49-F238E27FC236}">
                <a16:creationId xmlns:a16="http://schemas.microsoft.com/office/drawing/2014/main" xmlns="" id="{8779FDAC-8B78-433C-959D-F71A1371B929}"/>
              </a:ext>
            </a:extLst>
          </p:cNvPr>
          <p:cNvSpPr>
            <a:spLocks noChangeArrowheads="1"/>
          </p:cNvSpPr>
          <p:nvPr/>
        </p:nvSpPr>
        <p:spPr bwMode="auto">
          <a:xfrm>
            <a:off x="6953821" y="5073708"/>
            <a:ext cx="996009" cy="963968"/>
          </a:xfrm>
          <a:custGeom>
            <a:avLst/>
            <a:gdLst>
              <a:gd name="connsiteX0" fmla="*/ 1972093 w 2655332"/>
              <a:gd name="connsiteY0" fmla="*/ 0 h 2569913"/>
              <a:gd name="connsiteX1" fmla="*/ 2655332 w 2655332"/>
              <a:gd name="connsiteY1" fmla="*/ 2549881 h 2569913"/>
              <a:gd name="connsiteX2" fmla="*/ 2581374 w 2655332"/>
              <a:gd name="connsiteY2" fmla="*/ 2549792 h 2569913"/>
              <a:gd name="connsiteX3" fmla="*/ 670646 w 2655332"/>
              <a:gd name="connsiteY3" fmla="*/ 2569071 h 2569913"/>
              <a:gd name="connsiteX4" fmla="*/ 341608 w 2655332"/>
              <a:gd name="connsiteY4" fmla="*/ 2279198 h 2569913"/>
              <a:gd name="connsiteX5" fmla="*/ 183284 w 2655332"/>
              <a:gd name="connsiteY5" fmla="*/ 1444007 h 2569913"/>
              <a:gd name="connsiteX6" fmla="*/ 14463 w 2655332"/>
              <a:gd name="connsiteY6" fmla="*/ 1144430 h 2569913"/>
              <a:gd name="connsiteX7" fmla="*/ 0 w 2655332"/>
              <a:gd name="connsiteY7" fmla="*/ 1138589 h 2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5332" h="2569913">
                <a:moveTo>
                  <a:pt x="1972093" y="0"/>
                </a:moveTo>
                <a:lnTo>
                  <a:pt x="2655332" y="2549881"/>
                </a:lnTo>
                <a:lnTo>
                  <a:pt x="2581374" y="2549792"/>
                </a:lnTo>
                <a:cubicBezTo>
                  <a:pt x="1853256" y="2549104"/>
                  <a:pt x="1070586" y="2550480"/>
                  <a:pt x="670646" y="2569071"/>
                </a:cubicBezTo>
                <a:cubicBezTo>
                  <a:pt x="473774" y="2578710"/>
                  <a:pt x="379468" y="2507103"/>
                  <a:pt x="341608" y="2279198"/>
                </a:cubicBezTo>
                <a:cubicBezTo>
                  <a:pt x="295488" y="1999654"/>
                  <a:pt x="214261" y="1728372"/>
                  <a:pt x="183284" y="1444007"/>
                </a:cubicBezTo>
                <a:cubicBezTo>
                  <a:pt x="167280" y="1297866"/>
                  <a:pt x="111393" y="1201686"/>
                  <a:pt x="14463" y="1144430"/>
                </a:cubicBezTo>
                <a:lnTo>
                  <a:pt x="0" y="1138589"/>
                </a:lnTo>
                <a:close/>
              </a:path>
            </a:pathLst>
          </a:custGeom>
          <a:solidFill>
            <a:schemeClr val="accent4"/>
          </a:solidFill>
          <a:ln>
            <a:noFill/>
          </a:ln>
          <a:effectLst/>
        </p:spPr>
        <p:txBody>
          <a:bodyPr wrap="square" anchor="ctr">
            <a:noAutofit/>
          </a:bodyPr>
          <a:lstStyle/>
          <a:p>
            <a:endParaRPr lang="en-GB" sz="1600" dirty="0"/>
          </a:p>
        </p:txBody>
      </p:sp>
      <p:sp>
        <p:nvSpPr>
          <p:cNvPr id="32" name="TextBox 76">
            <a:extLst>
              <a:ext uri="{FF2B5EF4-FFF2-40B4-BE49-F238E27FC236}">
                <a16:creationId xmlns:a16="http://schemas.microsoft.com/office/drawing/2014/main" xmlns="" id="{2F42848A-C7A7-458D-911C-60861822F914}"/>
              </a:ext>
            </a:extLst>
          </p:cNvPr>
          <p:cNvSpPr txBox="1"/>
          <p:nvPr/>
        </p:nvSpPr>
        <p:spPr>
          <a:xfrm>
            <a:off x="9102792" y="1823018"/>
            <a:ext cx="636393" cy="338554"/>
          </a:xfrm>
          <a:prstGeom prst="rect">
            <a:avLst/>
          </a:prstGeom>
          <a:noFill/>
        </p:spPr>
        <p:txBody>
          <a:bodyPr wrap="none" rtlCol="0" anchor="b" anchorCtr="0">
            <a:spAutoFit/>
          </a:bodyPr>
          <a:lstStyle/>
          <a:p>
            <a:r>
              <a:rPr lang="en-GB" sz="1600" b="1" dirty="0">
                <a:solidFill>
                  <a:schemeClr val="accent1">
                    <a:lumMod val="75000"/>
                  </a:schemeClr>
                </a:solidFill>
                <a:latin typeface="+mj-lt"/>
                <a:ea typeface="League Spartan" charset="0"/>
                <a:cs typeface="Poppins" pitchFamily="2" charset="77"/>
              </a:rPr>
              <a:t>Value</a:t>
            </a:r>
          </a:p>
        </p:txBody>
      </p:sp>
      <p:sp>
        <p:nvSpPr>
          <p:cNvPr id="33" name="Subtitle 2">
            <a:extLst>
              <a:ext uri="{FF2B5EF4-FFF2-40B4-BE49-F238E27FC236}">
                <a16:creationId xmlns:a16="http://schemas.microsoft.com/office/drawing/2014/main" xmlns="" id="{D6E1A1CA-8614-4F9E-981C-92A2AEEE829B}"/>
              </a:ext>
            </a:extLst>
          </p:cNvPr>
          <p:cNvSpPr txBox="1">
            <a:spLocks/>
          </p:cNvSpPr>
          <p:nvPr/>
        </p:nvSpPr>
        <p:spPr>
          <a:xfrm>
            <a:off x="9193361" y="2146189"/>
            <a:ext cx="2411782"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Embedding values/ behaviours to influence decisions</a:t>
            </a:r>
          </a:p>
        </p:txBody>
      </p:sp>
      <p:sp>
        <p:nvSpPr>
          <p:cNvPr id="34" name="TextBox 78">
            <a:extLst>
              <a:ext uri="{FF2B5EF4-FFF2-40B4-BE49-F238E27FC236}">
                <a16:creationId xmlns:a16="http://schemas.microsoft.com/office/drawing/2014/main" xmlns="" id="{32690603-3ED6-42BC-AA4C-7C212037D1AB}"/>
              </a:ext>
            </a:extLst>
          </p:cNvPr>
          <p:cNvSpPr txBox="1"/>
          <p:nvPr/>
        </p:nvSpPr>
        <p:spPr>
          <a:xfrm>
            <a:off x="9185362" y="3123319"/>
            <a:ext cx="1029064" cy="338554"/>
          </a:xfrm>
          <a:prstGeom prst="rect">
            <a:avLst/>
          </a:prstGeom>
          <a:noFill/>
        </p:spPr>
        <p:txBody>
          <a:bodyPr wrap="none" rtlCol="0" anchor="b" anchorCtr="0">
            <a:spAutoFit/>
          </a:bodyPr>
          <a:lstStyle/>
          <a:p>
            <a:r>
              <a:rPr lang="en-GB" sz="1600" b="1" dirty="0">
                <a:solidFill>
                  <a:schemeClr val="accent2">
                    <a:lumMod val="75000"/>
                  </a:schemeClr>
                </a:solidFill>
                <a:latin typeface="+mj-lt"/>
                <a:ea typeface="League Spartan" charset="0"/>
                <a:cs typeface="Poppins" pitchFamily="2" charset="77"/>
              </a:rPr>
              <a:t>Alignment</a:t>
            </a:r>
          </a:p>
        </p:txBody>
      </p:sp>
      <p:sp>
        <p:nvSpPr>
          <p:cNvPr id="35" name="Subtitle 2">
            <a:extLst>
              <a:ext uri="{FF2B5EF4-FFF2-40B4-BE49-F238E27FC236}">
                <a16:creationId xmlns:a16="http://schemas.microsoft.com/office/drawing/2014/main" xmlns="" id="{35A6BA5D-F53E-4BBC-A822-03C5DFD11878}"/>
              </a:ext>
            </a:extLst>
          </p:cNvPr>
          <p:cNvSpPr txBox="1">
            <a:spLocks/>
          </p:cNvSpPr>
          <p:nvPr/>
        </p:nvSpPr>
        <p:spPr>
          <a:xfrm>
            <a:off x="9193361" y="3550565"/>
            <a:ext cx="2998639"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Aligning reward &amp; recognition</a:t>
            </a:r>
          </a:p>
        </p:txBody>
      </p:sp>
      <p:sp>
        <p:nvSpPr>
          <p:cNvPr id="36" name="TextBox 80">
            <a:extLst>
              <a:ext uri="{FF2B5EF4-FFF2-40B4-BE49-F238E27FC236}">
                <a16:creationId xmlns:a16="http://schemas.microsoft.com/office/drawing/2014/main" xmlns="" id="{CAE3CE8F-7FB9-4107-ABDD-5406CDEC8A50}"/>
              </a:ext>
            </a:extLst>
          </p:cNvPr>
          <p:cNvSpPr txBox="1"/>
          <p:nvPr/>
        </p:nvSpPr>
        <p:spPr>
          <a:xfrm>
            <a:off x="9116582" y="3958441"/>
            <a:ext cx="1688476" cy="338554"/>
          </a:xfrm>
          <a:prstGeom prst="rect">
            <a:avLst/>
          </a:prstGeom>
          <a:noFill/>
        </p:spPr>
        <p:txBody>
          <a:bodyPr wrap="none" rtlCol="0" anchor="b" anchorCtr="0">
            <a:spAutoFit/>
          </a:bodyPr>
          <a:lstStyle/>
          <a:p>
            <a:r>
              <a:rPr lang="en-GB" sz="1600" b="1" dirty="0">
                <a:solidFill>
                  <a:schemeClr val="accent3">
                    <a:lumMod val="75000"/>
                  </a:schemeClr>
                </a:solidFill>
                <a:latin typeface="+mj-lt"/>
                <a:ea typeface="League Spartan" charset="0"/>
                <a:cs typeface="Poppins" pitchFamily="2" charset="77"/>
              </a:rPr>
              <a:t>Board information</a:t>
            </a:r>
          </a:p>
        </p:txBody>
      </p:sp>
      <p:sp>
        <p:nvSpPr>
          <p:cNvPr id="37" name="Subtitle 2">
            <a:extLst>
              <a:ext uri="{FF2B5EF4-FFF2-40B4-BE49-F238E27FC236}">
                <a16:creationId xmlns:a16="http://schemas.microsoft.com/office/drawing/2014/main" xmlns="" id="{8B72A444-FEEE-438F-A84B-F3C0FD9A5D75}"/>
              </a:ext>
            </a:extLst>
          </p:cNvPr>
          <p:cNvSpPr txBox="1">
            <a:spLocks/>
          </p:cNvSpPr>
          <p:nvPr/>
        </p:nvSpPr>
        <p:spPr>
          <a:xfrm>
            <a:off x="9185362" y="4372388"/>
            <a:ext cx="2998639"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solidFill>
                  <a:schemeClr val="tx1"/>
                </a:solidFill>
                <a:latin typeface="+mj-lt"/>
                <a:ea typeface="Lato Light" panose="020F0502020204030203" pitchFamily="34" charset="0"/>
                <a:cs typeface="Mukta ExtraLight" panose="020B0000000000000000" pitchFamily="34" charset="77"/>
              </a:rPr>
              <a:t>Guiding board oversight of people strategy</a:t>
            </a:r>
          </a:p>
        </p:txBody>
      </p:sp>
      <p:sp>
        <p:nvSpPr>
          <p:cNvPr id="38" name="TextBox 82">
            <a:extLst>
              <a:ext uri="{FF2B5EF4-FFF2-40B4-BE49-F238E27FC236}">
                <a16:creationId xmlns:a16="http://schemas.microsoft.com/office/drawing/2014/main" xmlns="" id="{E14CBB50-8CFB-42A5-A65B-86FF3D1DF874}"/>
              </a:ext>
            </a:extLst>
          </p:cNvPr>
          <p:cNvSpPr txBox="1"/>
          <p:nvPr/>
        </p:nvSpPr>
        <p:spPr>
          <a:xfrm>
            <a:off x="9011557" y="4904431"/>
            <a:ext cx="1952650" cy="338554"/>
          </a:xfrm>
          <a:prstGeom prst="rect">
            <a:avLst/>
          </a:prstGeom>
          <a:noFill/>
        </p:spPr>
        <p:txBody>
          <a:bodyPr wrap="none" rtlCol="0" anchor="b" anchorCtr="0">
            <a:spAutoFit/>
          </a:bodyPr>
          <a:lstStyle/>
          <a:p>
            <a:r>
              <a:rPr lang="en-GB" sz="1600" b="1" dirty="0">
                <a:solidFill>
                  <a:schemeClr val="accent4">
                    <a:lumMod val="75000"/>
                  </a:schemeClr>
                </a:solidFill>
                <a:latin typeface="+mj-lt"/>
                <a:ea typeface="League Spartan" charset="0"/>
                <a:cs typeface="Poppins" pitchFamily="2" charset="77"/>
              </a:rPr>
              <a:t>Change Management</a:t>
            </a:r>
          </a:p>
        </p:txBody>
      </p:sp>
      <p:sp>
        <p:nvSpPr>
          <p:cNvPr id="39" name="Subtitle 2">
            <a:extLst>
              <a:ext uri="{FF2B5EF4-FFF2-40B4-BE49-F238E27FC236}">
                <a16:creationId xmlns:a16="http://schemas.microsoft.com/office/drawing/2014/main" xmlns="" id="{A28D0674-E3BF-48E2-9627-DF6D9C5F5FA8}"/>
              </a:ext>
            </a:extLst>
          </p:cNvPr>
          <p:cNvSpPr txBox="1">
            <a:spLocks/>
          </p:cNvSpPr>
          <p:nvPr/>
        </p:nvSpPr>
        <p:spPr>
          <a:xfrm>
            <a:off x="9083513" y="5278569"/>
            <a:ext cx="2673058"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solidFill>
                  <a:schemeClr val="tx1"/>
                </a:solidFill>
                <a:latin typeface="+mj-lt"/>
                <a:ea typeface="Lato Light" panose="020F0502020204030203" pitchFamily="34" charset="0"/>
                <a:cs typeface="Mukta ExtraLight" panose="020B0000000000000000" pitchFamily="34" charset="77"/>
              </a:rPr>
              <a:t>Expertise in organisation design </a:t>
            </a:r>
          </a:p>
        </p:txBody>
      </p:sp>
      <p:sp>
        <p:nvSpPr>
          <p:cNvPr id="40" name="TextBox 84">
            <a:extLst>
              <a:ext uri="{FF2B5EF4-FFF2-40B4-BE49-F238E27FC236}">
                <a16:creationId xmlns:a16="http://schemas.microsoft.com/office/drawing/2014/main" xmlns="" id="{E4A018EC-AA36-4AD3-9AD5-4DB44D5DAE7B}"/>
              </a:ext>
            </a:extLst>
          </p:cNvPr>
          <p:cNvSpPr txBox="1"/>
          <p:nvPr/>
        </p:nvSpPr>
        <p:spPr>
          <a:xfrm>
            <a:off x="4839309" y="1764474"/>
            <a:ext cx="790794" cy="338554"/>
          </a:xfrm>
          <a:prstGeom prst="rect">
            <a:avLst/>
          </a:prstGeom>
          <a:noFill/>
        </p:spPr>
        <p:txBody>
          <a:bodyPr wrap="none" rtlCol="0" anchor="b" anchorCtr="0">
            <a:spAutoFit/>
          </a:bodyPr>
          <a:lstStyle/>
          <a:p>
            <a:pPr algn="r"/>
            <a:r>
              <a:rPr lang="en-GB" sz="1600" b="1" dirty="0">
                <a:solidFill>
                  <a:schemeClr val="accent1"/>
                </a:solidFill>
                <a:latin typeface="+mj-lt"/>
                <a:ea typeface="League Spartan" charset="0"/>
                <a:cs typeface="Poppins" pitchFamily="2" charset="77"/>
              </a:rPr>
              <a:t>Culture</a:t>
            </a:r>
          </a:p>
        </p:txBody>
      </p:sp>
      <p:sp>
        <p:nvSpPr>
          <p:cNvPr id="41" name="Subtitle 2">
            <a:extLst>
              <a:ext uri="{FF2B5EF4-FFF2-40B4-BE49-F238E27FC236}">
                <a16:creationId xmlns:a16="http://schemas.microsoft.com/office/drawing/2014/main" xmlns="" id="{892DC832-AA28-40B8-9DF8-E754623D3519}"/>
              </a:ext>
            </a:extLst>
          </p:cNvPr>
          <p:cNvSpPr txBox="1">
            <a:spLocks/>
          </p:cNvSpPr>
          <p:nvPr/>
        </p:nvSpPr>
        <p:spPr>
          <a:xfrm>
            <a:off x="3898889" y="2107680"/>
            <a:ext cx="1711001"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Expert partner in building risk culture, mindset</a:t>
            </a:r>
          </a:p>
        </p:txBody>
      </p:sp>
      <p:sp>
        <p:nvSpPr>
          <p:cNvPr id="42" name="TextBox 86">
            <a:extLst>
              <a:ext uri="{FF2B5EF4-FFF2-40B4-BE49-F238E27FC236}">
                <a16:creationId xmlns:a16="http://schemas.microsoft.com/office/drawing/2014/main" xmlns="" id="{9BF03BCE-F48B-445F-9FC1-5C089E8E51E4}"/>
              </a:ext>
            </a:extLst>
          </p:cNvPr>
          <p:cNvSpPr txBox="1"/>
          <p:nvPr/>
        </p:nvSpPr>
        <p:spPr>
          <a:xfrm>
            <a:off x="4665904" y="3064738"/>
            <a:ext cx="882870" cy="338554"/>
          </a:xfrm>
          <a:prstGeom prst="rect">
            <a:avLst/>
          </a:prstGeom>
          <a:noFill/>
        </p:spPr>
        <p:txBody>
          <a:bodyPr wrap="none" rtlCol="0" anchor="b" anchorCtr="0">
            <a:spAutoFit/>
          </a:bodyPr>
          <a:lstStyle/>
          <a:p>
            <a:pPr algn="r"/>
            <a:r>
              <a:rPr lang="en-GB" sz="1600" b="1" dirty="0">
                <a:solidFill>
                  <a:schemeClr val="accent2"/>
                </a:solidFill>
                <a:latin typeface="+mj-lt"/>
                <a:ea typeface="League Spartan" charset="0"/>
                <a:cs typeface="Poppins" pitchFamily="2" charset="77"/>
              </a:rPr>
              <a:t>Linkages</a:t>
            </a:r>
          </a:p>
        </p:txBody>
      </p:sp>
      <p:sp>
        <p:nvSpPr>
          <p:cNvPr id="43" name="Subtitle 2">
            <a:extLst>
              <a:ext uri="{FF2B5EF4-FFF2-40B4-BE49-F238E27FC236}">
                <a16:creationId xmlns:a16="http://schemas.microsoft.com/office/drawing/2014/main" xmlns="" id="{C0183CEF-A18B-485E-B0E6-49DEF3E0C5C6}"/>
              </a:ext>
            </a:extLst>
          </p:cNvPr>
          <p:cNvSpPr txBox="1">
            <a:spLocks/>
          </p:cNvSpPr>
          <p:nvPr/>
        </p:nvSpPr>
        <p:spPr>
          <a:xfrm>
            <a:off x="3827544" y="3389403"/>
            <a:ext cx="1693860"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Linking behaviour and organisation performance</a:t>
            </a:r>
          </a:p>
        </p:txBody>
      </p:sp>
      <p:sp>
        <p:nvSpPr>
          <p:cNvPr id="44" name="TextBox 88">
            <a:extLst>
              <a:ext uri="{FF2B5EF4-FFF2-40B4-BE49-F238E27FC236}">
                <a16:creationId xmlns:a16="http://schemas.microsoft.com/office/drawing/2014/main" xmlns="" id="{9F97B092-BAE5-4640-A2F3-93318DDBB0A3}"/>
              </a:ext>
            </a:extLst>
          </p:cNvPr>
          <p:cNvSpPr txBox="1"/>
          <p:nvPr/>
        </p:nvSpPr>
        <p:spPr>
          <a:xfrm>
            <a:off x="4361176" y="4332572"/>
            <a:ext cx="1157689" cy="338554"/>
          </a:xfrm>
          <a:prstGeom prst="rect">
            <a:avLst/>
          </a:prstGeom>
          <a:noFill/>
        </p:spPr>
        <p:txBody>
          <a:bodyPr wrap="none" rtlCol="0" anchor="b" anchorCtr="0">
            <a:spAutoFit/>
          </a:bodyPr>
          <a:lstStyle/>
          <a:p>
            <a:pPr algn="r"/>
            <a:r>
              <a:rPr lang="en-GB" sz="1600" b="1" dirty="0">
                <a:solidFill>
                  <a:schemeClr val="accent3"/>
                </a:solidFill>
                <a:latin typeface="+mj-lt"/>
                <a:ea typeface="League Spartan" charset="0"/>
                <a:cs typeface="Poppins" pitchFamily="2" charset="77"/>
              </a:rPr>
              <a:t>Information</a:t>
            </a:r>
          </a:p>
        </p:txBody>
      </p:sp>
      <p:sp>
        <p:nvSpPr>
          <p:cNvPr id="45" name="Subtitle 2">
            <a:extLst>
              <a:ext uri="{FF2B5EF4-FFF2-40B4-BE49-F238E27FC236}">
                <a16:creationId xmlns:a16="http://schemas.microsoft.com/office/drawing/2014/main" xmlns="" id="{B5D2D496-0FA0-4DA1-90A2-AE94B6476489}"/>
              </a:ext>
            </a:extLst>
          </p:cNvPr>
          <p:cNvSpPr txBox="1">
            <a:spLocks/>
          </p:cNvSpPr>
          <p:nvPr/>
        </p:nvSpPr>
        <p:spPr>
          <a:xfrm>
            <a:off x="3755352" y="4578817"/>
            <a:ext cx="1711001"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Mastery in providing people risk information</a:t>
            </a:r>
          </a:p>
        </p:txBody>
      </p:sp>
      <p:sp>
        <p:nvSpPr>
          <p:cNvPr id="46" name="TextBox 90">
            <a:extLst>
              <a:ext uri="{FF2B5EF4-FFF2-40B4-BE49-F238E27FC236}">
                <a16:creationId xmlns:a16="http://schemas.microsoft.com/office/drawing/2014/main" xmlns="" id="{C8C73A6E-C039-40A0-81E0-549ACACEBA97}"/>
              </a:ext>
            </a:extLst>
          </p:cNvPr>
          <p:cNvSpPr txBox="1"/>
          <p:nvPr/>
        </p:nvSpPr>
        <p:spPr>
          <a:xfrm>
            <a:off x="4227652" y="5400640"/>
            <a:ext cx="1293752" cy="338554"/>
          </a:xfrm>
          <a:prstGeom prst="rect">
            <a:avLst/>
          </a:prstGeom>
          <a:noFill/>
        </p:spPr>
        <p:txBody>
          <a:bodyPr wrap="none" rtlCol="0" anchor="b" anchorCtr="0">
            <a:spAutoFit/>
          </a:bodyPr>
          <a:lstStyle/>
          <a:p>
            <a:pPr algn="r"/>
            <a:r>
              <a:rPr lang="en-GB" sz="1600" b="1" dirty="0">
                <a:solidFill>
                  <a:schemeClr val="accent4"/>
                </a:solidFill>
                <a:latin typeface="+mj-lt"/>
                <a:ea typeface="League Spartan" charset="0"/>
                <a:cs typeface="Poppins" pitchFamily="2" charset="77"/>
              </a:rPr>
              <a:t>Development</a:t>
            </a:r>
          </a:p>
        </p:txBody>
      </p:sp>
      <p:sp>
        <p:nvSpPr>
          <p:cNvPr id="47" name="Subtitle 2">
            <a:extLst>
              <a:ext uri="{FF2B5EF4-FFF2-40B4-BE49-F238E27FC236}">
                <a16:creationId xmlns:a16="http://schemas.microsoft.com/office/drawing/2014/main" xmlns="" id="{492B76B2-ACBF-4570-8360-A9D5B15D6FFA}"/>
              </a:ext>
            </a:extLst>
          </p:cNvPr>
          <p:cNvSpPr txBox="1">
            <a:spLocks/>
          </p:cNvSpPr>
          <p:nvPr/>
        </p:nvSpPr>
        <p:spPr>
          <a:xfrm>
            <a:off x="3601686" y="5677312"/>
            <a:ext cx="1903005"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Assessing and developing leaders</a:t>
            </a:r>
          </a:p>
        </p:txBody>
      </p:sp>
    </p:spTree>
    <p:extLst>
      <p:ext uri="{BB962C8B-B14F-4D97-AF65-F5344CB8AC3E}">
        <p14:creationId xmlns:p14="http://schemas.microsoft.com/office/powerpoint/2010/main" val="22051913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27381" y="557795"/>
            <a:ext cx="8852375" cy="697353"/>
          </a:xfrm>
        </p:spPr>
        <p:txBody>
          <a:bodyPr>
            <a:normAutofit/>
          </a:bodyPr>
          <a:lstStyle/>
          <a:p>
            <a:r>
              <a:rPr lang="en-GB" dirty="0"/>
              <a:t>Roles of the Risk Officer</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10117" y="2230245"/>
            <a:ext cx="2930382"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ERM model implies the leadership by an individual who is responsible for the development and implication of an ERM strategy and assists the senior management in terms of risk management.</a:t>
            </a:r>
          </a:p>
        </p:txBody>
      </p:sp>
      <p:grpSp>
        <p:nvGrpSpPr>
          <p:cNvPr id="20" name="Group 135">
            <a:extLst>
              <a:ext uri="{FF2B5EF4-FFF2-40B4-BE49-F238E27FC236}">
                <a16:creationId xmlns:a16="http://schemas.microsoft.com/office/drawing/2014/main" xmlns="" id="{3B3DD101-6074-4D33-BF47-02C09A0883FB}"/>
              </a:ext>
            </a:extLst>
          </p:cNvPr>
          <p:cNvGrpSpPr/>
          <p:nvPr/>
        </p:nvGrpSpPr>
        <p:grpSpPr>
          <a:xfrm>
            <a:off x="5980762" y="2276088"/>
            <a:ext cx="2839057" cy="3603641"/>
            <a:chOff x="14407368" y="4108798"/>
            <a:chExt cx="7568848" cy="9607208"/>
          </a:xfrm>
        </p:grpSpPr>
        <p:sp>
          <p:nvSpPr>
            <p:cNvPr id="21" name="Shape 10354">
              <a:extLst>
                <a:ext uri="{FF2B5EF4-FFF2-40B4-BE49-F238E27FC236}">
                  <a16:creationId xmlns:a16="http://schemas.microsoft.com/office/drawing/2014/main" xmlns="" id="{6C29F868-82C4-48D7-B6A6-835ACF29AAD0}"/>
                </a:ext>
              </a:extLst>
            </p:cNvPr>
            <p:cNvSpPr/>
            <p:nvPr/>
          </p:nvSpPr>
          <p:spPr>
            <a:xfrm>
              <a:off x="14407368" y="4112415"/>
              <a:ext cx="7568848" cy="9582576"/>
            </a:xfrm>
            <a:custGeom>
              <a:avLst/>
              <a:gdLst/>
              <a:ahLst/>
              <a:cxnLst>
                <a:cxn ang="0">
                  <a:pos x="wd2" y="hd2"/>
                </a:cxn>
                <a:cxn ang="5400000">
                  <a:pos x="wd2" y="hd2"/>
                </a:cxn>
                <a:cxn ang="10800000">
                  <a:pos x="wd2" y="hd2"/>
                </a:cxn>
                <a:cxn ang="16200000">
                  <a:pos x="wd2" y="hd2"/>
                </a:cxn>
              </a:cxnLst>
              <a:rect l="0" t="0" r="r" b="b"/>
              <a:pathLst>
                <a:path w="21432" h="21116" extrusionOk="0">
                  <a:moveTo>
                    <a:pt x="1988" y="8601"/>
                  </a:moveTo>
                  <a:cubicBezTo>
                    <a:pt x="1988" y="8601"/>
                    <a:pt x="2362" y="8118"/>
                    <a:pt x="1988" y="7586"/>
                  </a:cubicBezTo>
                  <a:cubicBezTo>
                    <a:pt x="1615" y="7054"/>
                    <a:pt x="1864" y="5073"/>
                    <a:pt x="2736" y="3720"/>
                  </a:cubicBezTo>
                  <a:cubicBezTo>
                    <a:pt x="3608" y="2367"/>
                    <a:pt x="4355" y="1352"/>
                    <a:pt x="9026" y="434"/>
                  </a:cubicBezTo>
                  <a:cubicBezTo>
                    <a:pt x="13697" y="-484"/>
                    <a:pt x="16126" y="96"/>
                    <a:pt x="18368" y="1787"/>
                  </a:cubicBezTo>
                  <a:cubicBezTo>
                    <a:pt x="20610" y="3478"/>
                    <a:pt x="21357" y="5895"/>
                    <a:pt x="20672" y="8311"/>
                  </a:cubicBezTo>
                  <a:cubicBezTo>
                    <a:pt x="19987" y="10727"/>
                    <a:pt x="17558" y="11065"/>
                    <a:pt x="17745" y="13530"/>
                  </a:cubicBezTo>
                  <a:cubicBezTo>
                    <a:pt x="17932" y="15994"/>
                    <a:pt x="21432" y="21116"/>
                    <a:pt x="21432" y="21116"/>
                  </a:cubicBezTo>
                  <a:lnTo>
                    <a:pt x="9088" y="21116"/>
                  </a:lnTo>
                  <a:cubicBezTo>
                    <a:pt x="9088" y="21116"/>
                    <a:pt x="9618" y="19642"/>
                    <a:pt x="8964" y="18265"/>
                  </a:cubicBezTo>
                  <a:cubicBezTo>
                    <a:pt x="8964" y="18265"/>
                    <a:pt x="7959" y="16507"/>
                    <a:pt x="7189" y="16544"/>
                  </a:cubicBezTo>
                  <a:cubicBezTo>
                    <a:pt x="6418" y="16580"/>
                    <a:pt x="4083" y="16779"/>
                    <a:pt x="3452" y="16707"/>
                  </a:cubicBezTo>
                  <a:cubicBezTo>
                    <a:pt x="2821" y="16634"/>
                    <a:pt x="2214" y="16471"/>
                    <a:pt x="2261" y="15619"/>
                  </a:cubicBezTo>
                  <a:cubicBezTo>
                    <a:pt x="2308" y="14768"/>
                    <a:pt x="2238" y="14623"/>
                    <a:pt x="1887" y="14442"/>
                  </a:cubicBezTo>
                  <a:cubicBezTo>
                    <a:pt x="1537" y="14260"/>
                    <a:pt x="1397" y="13916"/>
                    <a:pt x="1677" y="13735"/>
                  </a:cubicBezTo>
                  <a:cubicBezTo>
                    <a:pt x="1957" y="13554"/>
                    <a:pt x="1957" y="13554"/>
                    <a:pt x="1957" y="13554"/>
                  </a:cubicBezTo>
                  <a:cubicBezTo>
                    <a:pt x="1957" y="13554"/>
                    <a:pt x="1747" y="13445"/>
                    <a:pt x="1420" y="13282"/>
                  </a:cubicBezTo>
                  <a:cubicBezTo>
                    <a:pt x="1093" y="13119"/>
                    <a:pt x="1163" y="12883"/>
                    <a:pt x="1257" y="12702"/>
                  </a:cubicBezTo>
                  <a:cubicBezTo>
                    <a:pt x="1350" y="12521"/>
                    <a:pt x="1537" y="12104"/>
                    <a:pt x="1327" y="12031"/>
                  </a:cubicBezTo>
                  <a:cubicBezTo>
                    <a:pt x="1117" y="11959"/>
                    <a:pt x="743" y="11778"/>
                    <a:pt x="416" y="11633"/>
                  </a:cubicBezTo>
                  <a:cubicBezTo>
                    <a:pt x="89" y="11488"/>
                    <a:pt x="-168" y="11234"/>
                    <a:pt x="136" y="10817"/>
                  </a:cubicBezTo>
                  <a:cubicBezTo>
                    <a:pt x="439" y="10401"/>
                    <a:pt x="1988" y="8601"/>
                    <a:pt x="1988" y="8601"/>
                  </a:cubicBezTo>
                  <a:close/>
                </a:path>
              </a:pathLst>
            </a:custGeom>
            <a:solidFill>
              <a:schemeClr val="accent3">
                <a:lumMod val="20000"/>
                <a:lumOff val="80000"/>
              </a:schemeClr>
            </a:soli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22" name="Shape 10355">
              <a:extLst>
                <a:ext uri="{FF2B5EF4-FFF2-40B4-BE49-F238E27FC236}">
                  <a16:creationId xmlns:a16="http://schemas.microsoft.com/office/drawing/2014/main" xmlns="" id="{9843AAC6-5921-425C-BBFD-7B165AD25E3A}"/>
                </a:ext>
              </a:extLst>
            </p:cNvPr>
            <p:cNvSpPr/>
            <p:nvPr/>
          </p:nvSpPr>
          <p:spPr>
            <a:xfrm>
              <a:off x="15175975" y="5793015"/>
              <a:ext cx="1056103" cy="924500"/>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3" name="Shape 10356">
              <a:extLst>
                <a:ext uri="{FF2B5EF4-FFF2-40B4-BE49-F238E27FC236}">
                  <a16:creationId xmlns:a16="http://schemas.microsoft.com/office/drawing/2014/main" xmlns="" id="{16EE14AC-581A-4534-8005-FA4C8C4422A7}"/>
                </a:ext>
              </a:extLst>
            </p:cNvPr>
            <p:cNvSpPr/>
            <p:nvPr/>
          </p:nvSpPr>
          <p:spPr>
            <a:xfrm>
              <a:off x="17978664" y="7053490"/>
              <a:ext cx="567697" cy="676949"/>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4" name="Shape 10357">
              <a:extLst>
                <a:ext uri="{FF2B5EF4-FFF2-40B4-BE49-F238E27FC236}">
                  <a16:creationId xmlns:a16="http://schemas.microsoft.com/office/drawing/2014/main" xmlns="" id="{139001A4-2BD7-4DCD-A9DD-258CB8F73FF0}"/>
                </a:ext>
              </a:extLst>
            </p:cNvPr>
            <p:cNvSpPr/>
            <p:nvPr/>
          </p:nvSpPr>
          <p:spPr>
            <a:xfrm>
              <a:off x="19346002" y="5826856"/>
              <a:ext cx="524618" cy="104923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25" name="Shape 10358">
              <a:extLst>
                <a:ext uri="{FF2B5EF4-FFF2-40B4-BE49-F238E27FC236}">
                  <a16:creationId xmlns:a16="http://schemas.microsoft.com/office/drawing/2014/main" xmlns="" id="{543EAFA3-AB36-4859-91F0-9F84396AFD87}"/>
                </a:ext>
              </a:extLst>
            </p:cNvPr>
            <p:cNvSpPr/>
            <p:nvPr/>
          </p:nvSpPr>
          <p:spPr>
            <a:xfrm>
              <a:off x="18888390" y="7193820"/>
              <a:ext cx="1013871" cy="761612"/>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2" name="Shape 10359">
              <a:extLst>
                <a:ext uri="{FF2B5EF4-FFF2-40B4-BE49-F238E27FC236}">
                  <a16:creationId xmlns:a16="http://schemas.microsoft.com/office/drawing/2014/main" xmlns="" id="{1280008A-9E4E-4E0C-AC0E-F5F1460B0448}"/>
                </a:ext>
              </a:extLst>
            </p:cNvPr>
            <p:cNvSpPr/>
            <p:nvPr/>
          </p:nvSpPr>
          <p:spPr>
            <a:xfrm>
              <a:off x="19929794" y="6617313"/>
              <a:ext cx="835507" cy="73669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3" name="Shape 10360">
              <a:extLst>
                <a:ext uri="{FF2B5EF4-FFF2-40B4-BE49-F238E27FC236}">
                  <a16:creationId xmlns:a16="http://schemas.microsoft.com/office/drawing/2014/main" xmlns="" id="{F4FD0E80-6A7F-4343-B51E-FF490A57FFF8}"/>
                </a:ext>
              </a:extLst>
            </p:cNvPr>
            <p:cNvSpPr/>
            <p:nvPr/>
          </p:nvSpPr>
          <p:spPr>
            <a:xfrm>
              <a:off x="16246750" y="8337717"/>
              <a:ext cx="1090495" cy="724856"/>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4" name="Shape 10361">
              <a:extLst>
                <a:ext uri="{FF2B5EF4-FFF2-40B4-BE49-F238E27FC236}">
                  <a16:creationId xmlns:a16="http://schemas.microsoft.com/office/drawing/2014/main" xmlns="" id="{0250D73D-AF99-4287-AC75-DFB45134028A}"/>
                </a:ext>
              </a:extLst>
            </p:cNvPr>
            <p:cNvSpPr/>
            <p:nvPr/>
          </p:nvSpPr>
          <p:spPr>
            <a:xfrm>
              <a:off x="18047762" y="8576521"/>
              <a:ext cx="779626" cy="51003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5" name="Shape 10362">
              <a:extLst>
                <a:ext uri="{FF2B5EF4-FFF2-40B4-BE49-F238E27FC236}">
                  <a16:creationId xmlns:a16="http://schemas.microsoft.com/office/drawing/2014/main" xmlns="" id="{CF0AEE2F-95EA-4FCE-B317-E275961680D6}"/>
                </a:ext>
              </a:extLst>
            </p:cNvPr>
            <p:cNvSpPr/>
            <p:nvPr/>
          </p:nvSpPr>
          <p:spPr>
            <a:xfrm>
              <a:off x="18185036" y="7888290"/>
              <a:ext cx="532340" cy="532367"/>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2">
                <a:lumMod val="90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6" name="Shape 10363">
              <a:extLst>
                <a:ext uri="{FF2B5EF4-FFF2-40B4-BE49-F238E27FC236}">
                  <a16:creationId xmlns:a16="http://schemas.microsoft.com/office/drawing/2014/main" xmlns="" id="{C7EF154A-01D2-4E74-B1E5-4D3C70CA8A0F}"/>
                </a:ext>
              </a:extLst>
            </p:cNvPr>
            <p:cNvSpPr/>
            <p:nvPr/>
          </p:nvSpPr>
          <p:spPr>
            <a:xfrm>
              <a:off x="16563190" y="8572964"/>
              <a:ext cx="1358814" cy="1170611"/>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7" name="Shape 10364">
              <a:extLst>
                <a:ext uri="{FF2B5EF4-FFF2-40B4-BE49-F238E27FC236}">
                  <a16:creationId xmlns:a16="http://schemas.microsoft.com/office/drawing/2014/main" xmlns="" id="{988ACF1D-F772-49FD-A566-AC1E09A7CB8C}"/>
                </a:ext>
              </a:extLst>
            </p:cNvPr>
            <p:cNvSpPr/>
            <p:nvPr/>
          </p:nvSpPr>
          <p:spPr>
            <a:xfrm>
              <a:off x="20342604" y="4919807"/>
              <a:ext cx="795139" cy="828529"/>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8" name="Shape 10365">
              <a:extLst>
                <a:ext uri="{FF2B5EF4-FFF2-40B4-BE49-F238E27FC236}">
                  <a16:creationId xmlns:a16="http://schemas.microsoft.com/office/drawing/2014/main" xmlns="" id="{95302B9C-E1D4-4288-9405-41140EEB5FF1}"/>
                </a:ext>
              </a:extLst>
            </p:cNvPr>
            <p:cNvSpPr/>
            <p:nvPr/>
          </p:nvSpPr>
          <p:spPr>
            <a:xfrm>
              <a:off x="20885051" y="8052596"/>
              <a:ext cx="644759" cy="45701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9" name="Shape 10366">
              <a:extLst>
                <a:ext uri="{FF2B5EF4-FFF2-40B4-BE49-F238E27FC236}">
                  <a16:creationId xmlns:a16="http://schemas.microsoft.com/office/drawing/2014/main" xmlns="" id="{05D95816-EBF1-47ED-882D-667A224CFA40}"/>
                </a:ext>
              </a:extLst>
            </p:cNvPr>
            <p:cNvSpPr/>
            <p:nvPr/>
          </p:nvSpPr>
          <p:spPr>
            <a:xfrm>
              <a:off x="20024892" y="5668206"/>
              <a:ext cx="715283" cy="79181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0" name="Shape 10367">
              <a:extLst>
                <a:ext uri="{FF2B5EF4-FFF2-40B4-BE49-F238E27FC236}">
                  <a16:creationId xmlns:a16="http://schemas.microsoft.com/office/drawing/2014/main" xmlns="" id="{2D3E1AF7-1E18-40AA-B0D6-F7CD4E37906C}"/>
                </a:ext>
              </a:extLst>
            </p:cNvPr>
            <p:cNvSpPr/>
            <p:nvPr/>
          </p:nvSpPr>
          <p:spPr>
            <a:xfrm>
              <a:off x="19982176" y="8448786"/>
              <a:ext cx="979708" cy="1152637"/>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1" name="Shape 10368">
              <a:extLst>
                <a:ext uri="{FF2B5EF4-FFF2-40B4-BE49-F238E27FC236}">
                  <a16:creationId xmlns:a16="http://schemas.microsoft.com/office/drawing/2014/main" xmlns="" id="{D6EAEB1F-E757-47B3-A668-50B8969AD306}"/>
                </a:ext>
              </a:extLst>
            </p:cNvPr>
            <p:cNvSpPr/>
            <p:nvPr/>
          </p:nvSpPr>
          <p:spPr>
            <a:xfrm>
              <a:off x="18752832" y="6832014"/>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2" name="Shape 10369">
              <a:extLst>
                <a:ext uri="{FF2B5EF4-FFF2-40B4-BE49-F238E27FC236}">
                  <a16:creationId xmlns:a16="http://schemas.microsoft.com/office/drawing/2014/main" xmlns="" id="{F3B94328-9355-40ED-B49F-DD4DCD3AF2A3}"/>
                </a:ext>
              </a:extLst>
            </p:cNvPr>
            <p:cNvSpPr/>
            <p:nvPr/>
          </p:nvSpPr>
          <p:spPr>
            <a:xfrm>
              <a:off x="20044209" y="7524991"/>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3" name="Shape 10370">
              <a:extLst>
                <a:ext uri="{FF2B5EF4-FFF2-40B4-BE49-F238E27FC236}">
                  <a16:creationId xmlns:a16="http://schemas.microsoft.com/office/drawing/2014/main" xmlns="" id="{61B787BE-3767-4033-933E-7016B5262C93}"/>
                </a:ext>
              </a:extLst>
            </p:cNvPr>
            <p:cNvSpPr/>
            <p:nvPr/>
          </p:nvSpPr>
          <p:spPr>
            <a:xfrm>
              <a:off x="17425322" y="6394160"/>
              <a:ext cx="534329"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4" name="Shape 10371">
              <a:extLst>
                <a:ext uri="{FF2B5EF4-FFF2-40B4-BE49-F238E27FC236}">
                  <a16:creationId xmlns:a16="http://schemas.microsoft.com/office/drawing/2014/main" xmlns="" id="{69BC48F5-B51D-4784-B3D3-3E9915313307}"/>
                </a:ext>
              </a:extLst>
            </p:cNvPr>
            <p:cNvSpPr/>
            <p:nvPr/>
          </p:nvSpPr>
          <p:spPr>
            <a:xfrm>
              <a:off x="17176640" y="7642515"/>
              <a:ext cx="745364" cy="625834"/>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5" name="Shape 10372">
              <a:extLst>
                <a:ext uri="{FF2B5EF4-FFF2-40B4-BE49-F238E27FC236}">
                  <a16:creationId xmlns:a16="http://schemas.microsoft.com/office/drawing/2014/main" xmlns="" id="{C4B1B528-4848-460C-B408-79AB5158E3B5}"/>
                </a:ext>
              </a:extLst>
            </p:cNvPr>
            <p:cNvSpPr/>
            <p:nvPr/>
          </p:nvSpPr>
          <p:spPr>
            <a:xfrm>
              <a:off x="18332159" y="5376375"/>
              <a:ext cx="863654" cy="789237"/>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6" name="Shape 10373">
              <a:extLst>
                <a:ext uri="{FF2B5EF4-FFF2-40B4-BE49-F238E27FC236}">
                  <a16:creationId xmlns:a16="http://schemas.microsoft.com/office/drawing/2014/main" xmlns="" id="{C174BCE3-710F-4D89-B22B-B0302490E06A}"/>
                </a:ext>
              </a:extLst>
            </p:cNvPr>
            <p:cNvSpPr/>
            <p:nvPr/>
          </p:nvSpPr>
          <p:spPr>
            <a:xfrm>
              <a:off x="16553258" y="7552786"/>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7" name="Shape 10374">
              <a:extLst>
                <a:ext uri="{FF2B5EF4-FFF2-40B4-BE49-F238E27FC236}">
                  <a16:creationId xmlns:a16="http://schemas.microsoft.com/office/drawing/2014/main" xmlns="" id="{6F5CBC54-FD1C-4C82-BFA6-2D7DBA9B24AB}"/>
                </a:ext>
              </a:extLst>
            </p:cNvPr>
            <p:cNvSpPr/>
            <p:nvPr/>
          </p:nvSpPr>
          <p:spPr>
            <a:xfrm>
              <a:off x="16997004" y="6816973"/>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8" name="Shape 10375">
              <a:extLst>
                <a:ext uri="{FF2B5EF4-FFF2-40B4-BE49-F238E27FC236}">
                  <a16:creationId xmlns:a16="http://schemas.microsoft.com/office/drawing/2014/main" xmlns="" id="{8403A1C9-C7F2-4D84-8689-C6CBD8AA0AC7}"/>
                </a:ext>
              </a:extLst>
            </p:cNvPr>
            <p:cNvSpPr/>
            <p:nvPr/>
          </p:nvSpPr>
          <p:spPr>
            <a:xfrm>
              <a:off x="17636354" y="4813021"/>
              <a:ext cx="520971" cy="676949"/>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9" name="Shape 10376">
              <a:extLst>
                <a:ext uri="{FF2B5EF4-FFF2-40B4-BE49-F238E27FC236}">
                  <a16:creationId xmlns:a16="http://schemas.microsoft.com/office/drawing/2014/main" xmlns="" id="{B01599FE-5BE5-4A9F-BE96-E55E9BE3D8C0}"/>
                </a:ext>
              </a:extLst>
            </p:cNvPr>
            <p:cNvSpPr/>
            <p:nvPr/>
          </p:nvSpPr>
          <p:spPr>
            <a:xfrm>
              <a:off x="16445562" y="5853037"/>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0" name="Shape 10377">
              <a:extLst>
                <a:ext uri="{FF2B5EF4-FFF2-40B4-BE49-F238E27FC236}">
                  <a16:creationId xmlns:a16="http://schemas.microsoft.com/office/drawing/2014/main" xmlns="" id="{2D9B8BF0-5C03-427A-BAC5-9A630D467F3D}"/>
                </a:ext>
              </a:extLst>
            </p:cNvPr>
            <p:cNvSpPr/>
            <p:nvPr/>
          </p:nvSpPr>
          <p:spPr>
            <a:xfrm>
              <a:off x="20790043" y="5991818"/>
              <a:ext cx="864563" cy="74481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1" name="Shape 10378">
              <a:extLst>
                <a:ext uri="{FF2B5EF4-FFF2-40B4-BE49-F238E27FC236}">
                  <a16:creationId xmlns:a16="http://schemas.microsoft.com/office/drawing/2014/main" xmlns="" id="{8AF9AF4B-8ADF-4477-B484-C24B5E063717}"/>
                </a:ext>
              </a:extLst>
            </p:cNvPr>
            <p:cNvSpPr/>
            <p:nvPr/>
          </p:nvSpPr>
          <p:spPr>
            <a:xfrm>
              <a:off x="19313512" y="496652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2" name="Shape 10379">
              <a:extLst>
                <a:ext uri="{FF2B5EF4-FFF2-40B4-BE49-F238E27FC236}">
                  <a16:creationId xmlns:a16="http://schemas.microsoft.com/office/drawing/2014/main" xmlns="" id="{A010C586-79C0-454E-AD52-17622393591D}"/>
                </a:ext>
              </a:extLst>
            </p:cNvPr>
            <p:cNvSpPr/>
            <p:nvPr/>
          </p:nvSpPr>
          <p:spPr>
            <a:xfrm>
              <a:off x="18944723" y="8111996"/>
              <a:ext cx="642360" cy="720761"/>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3" name="Shape 10380">
              <a:extLst>
                <a:ext uri="{FF2B5EF4-FFF2-40B4-BE49-F238E27FC236}">
                  <a16:creationId xmlns:a16="http://schemas.microsoft.com/office/drawing/2014/main" xmlns="" id="{FA2D8FBB-AB62-4119-A84C-B07FB0C31753}"/>
                </a:ext>
              </a:extLst>
            </p:cNvPr>
            <p:cNvSpPr/>
            <p:nvPr/>
          </p:nvSpPr>
          <p:spPr>
            <a:xfrm>
              <a:off x="15975644" y="5388220"/>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4" name="Shape 10381">
              <a:extLst>
                <a:ext uri="{FF2B5EF4-FFF2-40B4-BE49-F238E27FC236}">
                  <a16:creationId xmlns:a16="http://schemas.microsoft.com/office/drawing/2014/main" xmlns="" id="{EB55F81E-8E4E-4C2E-901D-FB85A039BB21}"/>
                </a:ext>
              </a:extLst>
            </p:cNvPr>
            <p:cNvSpPr/>
            <p:nvPr/>
          </p:nvSpPr>
          <p:spPr>
            <a:xfrm>
              <a:off x="19403393" y="840763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5" name="Shape 10382">
              <a:extLst>
                <a:ext uri="{FF2B5EF4-FFF2-40B4-BE49-F238E27FC236}">
                  <a16:creationId xmlns:a16="http://schemas.microsoft.com/office/drawing/2014/main" xmlns="" id="{ECF287E1-1B72-4A42-A007-E35AE20A2735}"/>
                </a:ext>
              </a:extLst>
            </p:cNvPr>
            <p:cNvSpPr/>
            <p:nvPr/>
          </p:nvSpPr>
          <p:spPr>
            <a:xfrm>
              <a:off x="16734120" y="4497805"/>
              <a:ext cx="706825" cy="831589"/>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6" name="Shape 10383">
              <a:extLst>
                <a:ext uri="{FF2B5EF4-FFF2-40B4-BE49-F238E27FC236}">
                  <a16:creationId xmlns:a16="http://schemas.microsoft.com/office/drawing/2014/main" xmlns="" id="{80CBF2D5-5CE9-4C66-9347-4A3BCC3A2082}"/>
                </a:ext>
              </a:extLst>
            </p:cNvPr>
            <p:cNvSpPr/>
            <p:nvPr/>
          </p:nvSpPr>
          <p:spPr>
            <a:xfrm>
              <a:off x="18326100" y="4525793"/>
              <a:ext cx="707796" cy="707799"/>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7" name="Shape 10384">
              <a:extLst>
                <a:ext uri="{FF2B5EF4-FFF2-40B4-BE49-F238E27FC236}">
                  <a16:creationId xmlns:a16="http://schemas.microsoft.com/office/drawing/2014/main" xmlns="" id="{69534180-5858-4903-91B9-260702A59BFA}"/>
                </a:ext>
              </a:extLst>
            </p:cNvPr>
            <p:cNvSpPr/>
            <p:nvPr/>
          </p:nvSpPr>
          <p:spPr>
            <a:xfrm>
              <a:off x="21178433" y="7084811"/>
              <a:ext cx="603784" cy="760235"/>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8" name="Shape 10385">
              <a:extLst>
                <a:ext uri="{FF2B5EF4-FFF2-40B4-BE49-F238E27FC236}">
                  <a16:creationId xmlns:a16="http://schemas.microsoft.com/office/drawing/2014/main" xmlns="" id="{5E42A9EC-DE7A-4C4E-A183-F7946AC03810}"/>
                </a:ext>
              </a:extLst>
            </p:cNvPr>
            <p:cNvSpPr/>
            <p:nvPr/>
          </p:nvSpPr>
          <p:spPr>
            <a:xfrm>
              <a:off x="20665447" y="6815808"/>
              <a:ext cx="608340" cy="1291938"/>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9" name="Shape 10386">
              <a:extLst>
                <a:ext uri="{FF2B5EF4-FFF2-40B4-BE49-F238E27FC236}">
                  <a16:creationId xmlns:a16="http://schemas.microsoft.com/office/drawing/2014/main" xmlns="" id="{A6DFF36A-5C4A-4CB3-93AE-9C08524AA6D7}"/>
                </a:ext>
              </a:extLst>
            </p:cNvPr>
            <p:cNvSpPr/>
            <p:nvPr/>
          </p:nvSpPr>
          <p:spPr>
            <a:xfrm>
              <a:off x="19887189" y="8018518"/>
              <a:ext cx="374757" cy="41485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0" name="Shape 10387">
              <a:extLst>
                <a:ext uri="{FF2B5EF4-FFF2-40B4-BE49-F238E27FC236}">
                  <a16:creationId xmlns:a16="http://schemas.microsoft.com/office/drawing/2014/main" xmlns="" id="{99B51DF8-AD17-47A7-9A63-FC0C9D6D7A31}"/>
                </a:ext>
              </a:extLst>
            </p:cNvPr>
            <p:cNvSpPr/>
            <p:nvPr/>
          </p:nvSpPr>
          <p:spPr>
            <a:xfrm>
              <a:off x="19258037" y="4159743"/>
              <a:ext cx="657991" cy="400024"/>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1" name="Shape 10388">
              <a:extLst>
                <a:ext uri="{FF2B5EF4-FFF2-40B4-BE49-F238E27FC236}">
                  <a16:creationId xmlns:a16="http://schemas.microsoft.com/office/drawing/2014/main" xmlns="" id="{FD7BC360-CB41-472A-AA76-000790E255B2}"/>
                </a:ext>
              </a:extLst>
            </p:cNvPr>
            <p:cNvSpPr/>
            <p:nvPr/>
          </p:nvSpPr>
          <p:spPr>
            <a:xfrm>
              <a:off x="18647193" y="4108798"/>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2" name="Shape 10389">
              <a:extLst>
                <a:ext uri="{FF2B5EF4-FFF2-40B4-BE49-F238E27FC236}">
                  <a16:creationId xmlns:a16="http://schemas.microsoft.com/office/drawing/2014/main" xmlns="" id="{D6C5E9D9-581E-481D-B747-244889E94552}"/>
                </a:ext>
              </a:extLst>
            </p:cNvPr>
            <p:cNvSpPr/>
            <p:nvPr/>
          </p:nvSpPr>
          <p:spPr>
            <a:xfrm>
              <a:off x="17493478" y="4180645"/>
              <a:ext cx="832624"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3" name="Shape 10390">
              <a:extLst>
                <a:ext uri="{FF2B5EF4-FFF2-40B4-BE49-F238E27FC236}">
                  <a16:creationId xmlns:a16="http://schemas.microsoft.com/office/drawing/2014/main" xmlns="" id="{690F74AB-1B74-45B2-8134-9AE2C71B9C93}"/>
                </a:ext>
              </a:extLst>
            </p:cNvPr>
            <p:cNvSpPr/>
            <p:nvPr/>
          </p:nvSpPr>
          <p:spPr>
            <a:xfrm>
              <a:off x="18126029" y="6224089"/>
              <a:ext cx="1086985" cy="582352"/>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4" name="Shape 10391">
              <a:extLst>
                <a:ext uri="{FF2B5EF4-FFF2-40B4-BE49-F238E27FC236}">
                  <a16:creationId xmlns:a16="http://schemas.microsoft.com/office/drawing/2014/main" xmlns="" id="{0E525666-A3FC-4EB4-BA03-0A15614E898E}"/>
                </a:ext>
              </a:extLst>
            </p:cNvPr>
            <p:cNvSpPr/>
            <p:nvPr/>
          </p:nvSpPr>
          <p:spPr>
            <a:xfrm>
              <a:off x="15698642" y="7668426"/>
              <a:ext cx="845763" cy="398247"/>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5" name="Shape 10392">
              <a:extLst>
                <a:ext uri="{FF2B5EF4-FFF2-40B4-BE49-F238E27FC236}">
                  <a16:creationId xmlns:a16="http://schemas.microsoft.com/office/drawing/2014/main" xmlns="" id="{E0C94B6A-338E-4A1C-B6F8-47A0230A6C7C}"/>
                </a:ext>
              </a:extLst>
            </p:cNvPr>
            <p:cNvSpPr/>
            <p:nvPr/>
          </p:nvSpPr>
          <p:spPr>
            <a:xfrm>
              <a:off x="19920630" y="5193310"/>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6" name="Shape 10393">
              <a:extLst>
                <a:ext uri="{FF2B5EF4-FFF2-40B4-BE49-F238E27FC236}">
                  <a16:creationId xmlns:a16="http://schemas.microsoft.com/office/drawing/2014/main" xmlns="" id="{F5428D43-32EF-4399-AAEA-8EDD09CDC157}"/>
                </a:ext>
              </a:extLst>
            </p:cNvPr>
            <p:cNvSpPr/>
            <p:nvPr/>
          </p:nvSpPr>
          <p:spPr>
            <a:xfrm>
              <a:off x="18570303" y="9049764"/>
              <a:ext cx="924785" cy="885968"/>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7" name="Shape 10394">
              <a:extLst>
                <a:ext uri="{FF2B5EF4-FFF2-40B4-BE49-F238E27FC236}">
                  <a16:creationId xmlns:a16="http://schemas.microsoft.com/office/drawing/2014/main" xmlns="" id="{04DBCF7B-14DE-4E95-B2EF-74D224967F30}"/>
                </a:ext>
              </a:extLst>
            </p:cNvPr>
            <p:cNvSpPr/>
            <p:nvPr/>
          </p:nvSpPr>
          <p:spPr>
            <a:xfrm>
              <a:off x="15885964" y="8065581"/>
              <a:ext cx="555246" cy="544272"/>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8" name="Shape 10395">
              <a:extLst>
                <a:ext uri="{FF2B5EF4-FFF2-40B4-BE49-F238E27FC236}">
                  <a16:creationId xmlns:a16="http://schemas.microsoft.com/office/drawing/2014/main" xmlns="" id="{05486E43-1D0D-4A72-8FFD-4D7E32079D86}"/>
                </a:ext>
              </a:extLst>
            </p:cNvPr>
            <p:cNvSpPr/>
            <p:nvPr/>
          </p:nvSpPr>
          <p:spPr>
            <a:xfrm>
              <a:off x="19111148" y="4676595"/>
              <a:ext cx="447512" cy="47891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2">
                <a:lumMod val="90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9" name="Shape 10396">
              <a:extLst>
                <a:ext uri="{FF2B5EF4-FFF2-40B4-BE49-F238E27FC236}">
                  <a16:creationId xmlns:a16="http://schemas.microsoft.com/office/drawing/2014/main" xmlns="" id="{D0A6DD11-AFD6-46E4-B73F-5AB534B6D265}"/>
                </a:ext>
              </a:extLst>
            </p:cNvPr>
            <p:cNvSpPr/>
            <p:nvPr/>
          </p:nvSpPr>
          <p:spPr>
            <a:xfrm>
              <a:off x="17914973" y="5805187"/>
              <a:ext cx="454602" cy="42316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0" name="Shape 10397">
              <a:extLst>
                <a:ext uri="{FF2B5EF4-FFF2-40B4-BE49-F238E27FC236}">
                  <a16:creationId xmlns:a16="http://schemas.microsoft.com/office/drawing/2014/main" xmlns="" id="{0FE35AF2-BDFD-420E-B511-55BCDAB84C43}"/>
                </a:ext>
              </a:extLst>
            </p:cNvPr>
            <p:cNvSpPr/>
            <p:nvPr/>
          </p:nvSpPr>
          <p:spPr>
            <a:xfrm>
              <a:off x="21365322" y="6512088"/>
              <a:ext cx="416893" cy="44614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1" name="Shape 10398">
              <a:extLst>
                <a:ext uri="{FF2B5EF4-FFF2-40B4-BE49-F238E27FC236}">
                  <a16:creationId xmlns:a16="http://schemas.microsoft.com/office/drawing/2014/main" xmlns="" id="{D766A61C-E102-46A9-B8FA-CB5D724C6BDB}"/>
                </a:ext>
              </a:extLst>
            </p:cNvPr>
            <p:cNvSpPr/>
            <p:nvPr/>
          </p:nvSpPr>
          <p:spPr>
            <a:xfrm>
              <a:off x="18043549" y="10579592"/>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2" name="Shape 10399">
              <a:extLst>
                <a:ext uri="{FF2B5EF4-FFF2-40B4-BE49-F238E27FC236}">
                  <a16:creationId xmlns:a16="http://schemas.microsoft.com/office/drawing/2014/main" xmlns="" id="{44F76F6E-C078-4967-82D2-C962432179FB}"/>
                </a:ext>
              </a:extLst>
            </p:cNvPr>
            <p:cNvSpPr/>
            <p:nvPr/>
          </p:nvSpPr>
          <p:spPr>
            <a:xfrm>
              <a:off x="15648472" y="6834637"/>
              <a:ext cx="742675"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3" name="Shape 10400">
              <a:extLst>
                <a:ext uri="{FF2B5EF4-FFF2-40B4-BE49-F238E27FC236}">
                  <a16:creationId xmlns:a16="http://schemas.microsoft.com/office/drawing/2014/main" xmlns="" id="{46CF6D35-E169-4CB8-B287-BDEEE0BDC441}"/>
                </a:ext>
              </a:extLst>
            </p:cNvPr>
            <p:cNvSpPr/>
            <p:nvPr/>
          </p:nvSpPr>
          <p:spPr>
            <a:xfrm>
              <a:off x="19723607" y="10276650"/>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4" name="Shape 10401">
              <a:extLst>
                <a:ext uri="{FF2B5EF4-FFF2-40B4-BE49-F238E27FC236}">
                  <a16:creationId xmlns:a16="http://schemas.microsoft.com/office/drawing/2014/main" xmlns="" id="{18F0A562-FF6C-4641-BBA2-8DB789A420D1}"/>
                </a:ext>
              </a:extLst>
            </p:cNvPr>
            <p:cNvSpPr/>
            <p:nvPr/>
          </p:nvSpPr>
          <p:spPr>
            <a:xfrm>
              <a:off x="15572266" y="10142128"/>
              <a:ext cx="479514" cy="33988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5" name="Shape 10402">
              <a:extLst>
                <a:ext uri="{FF2B5EF4-FFF2-40B4-BE49-F238E27FC236}">
                  <a16:creationId xmlns:a16="http://schemas.microsoft.com/office/drawing/2014/main" xmlns="" id="{674D77B0-29E2-438D-8C5F-982367408EC9}"/>
                </a:ext>
              </a:extLst>
            </p:cNvPr>
            <p:cNvSpPr/>
            <p:nvPr/>
          </p:nvSpPr>
          <p:spPr>
            <a:xfrm>
              <a:off x="17794266" y="9180909"/>
              <a:ext cx="602583" cy="64486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6" name="Shape 10403">
              <a:extLst>
                <a:ext uri="{FF2B5EF4-FFF2-40B4-BE49-F238E27FC236}">
                  <a16:creationId xmlns:a16="http://schemas.microsoft.com/office/drawing/2014/main" xmlns="" id="{0B460F1C-8C2A-43AD-BA56-3C7D4CE55491}"/>
                </a:ext>
              </a:extLst>
            </p:cNvPr>
            <p:cNvSpPr/>
            <p:nvPr/>
          </p:nvSpPr>
          <p:spPr>
            <a:xfrm>
              <a:off x="17048178" y="9717416"/>
              <a:ext cx="707905" cy="707906"/>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7" name="Shape 10404">
              <a:extLst>
                <a:ext uri="{FF2B5EF4-FFF2-40B4-BE49-F238E27FC236}">
                  <a16:creationId xmlns:a16="http://schemas.microsoft.com/office/drawing/2014/main" xmlns="" id="{3A0842EC-C50C-40AF-B6F1-DAAF65C6CC9C}"/>
                </a:ext>
              </a:extLst>
            </p:cNvPr>
            <p:cNvSpPr/>
            <p:nvPr/>
          </p:nvSpPr>
          <p:spPr>
            <a:xfrm>
              <a:off x="18977015" y="9915662"/>
              <a:ext cx="660489" cy="686411"/>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8" name="Shape 10405">
              <a:extLst>
                <a:ext uri="{FF2B5EF4-FFF2-40B4-BE49-F238E27FC236}">
                  <a16:creationId xmlns:a16="http://schemas.microsoft.com/office/drawing/2014/main" xmlns="" id="{60EE62DB-8928-47EA-8447-E7B4FBDBEEF3}"/>
                </a:ext>
              </a:extLst>
            </p:cNvPr>
            <p:cNvSpPr/>
            <p:nvPr/>
          </p:nvSpPr>
          <p:spPr>
            <a:xfrm>
              <a:off x="17273284" y="10887438"/>
              <a:ext cx="673802" cy="40655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9" name="Shape 10406">
              <a:extLst>
                <a:ext uri="{FF2B5EF4-FFF2-40B4-BE49-F238E27FC236}">
                  <a16:creationId xmlns:a16="http://schemas.microsoft.com/office/drawing/2014/main" xmlns="" id="{5C17FF64-7B30-4133-BB86-1B84A8260122}"/>
                </a:ext>
              </a:extLst>
            </p:cNvPr>
            <p:cNvSpPr/>
            <p:nvPr/>
          </p:nvSpPr>
          <p:spPr>
            <a:xfrm>
              <a:off x="19982176" y="9778729"/>
              <a:ext cx="656775" cy="603421"/>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0" name="Shape 10407">
              <a:extLst>
                <a:ext uri="{FF2B5EF4-FFF2-40B4-BE49-F238E27FC236}">
                  <a16:creationId xmlns:a16="http://schemas.microsoft.com/office/drawing/2014/main" xmlns="" id="{7880DE56-2BFD-4115-8DA4-C0099AC46D03}"/>
                </a:ext>
              </a:extLst>
            </p:cNvPr>
            <p:cNvSpPr/>
            <p:nvPr/>
          </p:nvSpPr>
          <p:spPr>
            <a:xfrm>
              <a:off x="18095556" y="992012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1" name="Shape 10408">
              <a:extLst>
                <a:ext uri="{FF2B5EF4-FFF2-40B4-BE49-F238E27FC236}">
                  <a16:creationId xmlns:a16="http://schemas.microsoft.com/office/drawing/2014/main" xmlns="" id="{798F9326-568D-4F93-9613-88FBC0B608B7}"/>
                </a:ext>
              </a:extLst>
            </p:cNvPr>
            <p:cNvSpPr/>
            <p:nvPr/>
          </p:nvSpPr>
          <p:spPr>
            <a:xfrm>
              <a:off x="19553061" y="9077456"/>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2" name="Shape 10409">
              <a:extLst>
                <a:ext uri="{FF2B5EF4-FFF2-40B4-BE49-F238E27FC236}">
                  <a16:creationId xmlns:a16="http://schemas.microsoft.com/office/drawing/2014/main" xmlns="" id="{CAD289B0-C3C6-4D73-AE30-1AC6CC9DC3C2}"/>
                </a:ext>
              </a:extLst>
            </p:cNvPr>
            <p:cNvSpPr/>
            <p:nvPr/>
          </p:nvSpPr>
          <p:spPr>
            <a:xfrm>
              <a:off x="19907349" y="4497805"/>
              <a:ext cx="422982" cy="47460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3" name="Shape 10410">
              <a:extLst>
                <a:ext uri="{FF2B5EF4-FFF2-40B4-BE49-F238E27FC236}">
                  <a16:creationId xmlns:a16="http://schemas.microsoft.com/office/drawing/2014/main" xmlns="" id="{5F07D5CC-FC57-4885-9475-6FA096C1A765}"/>
                </a:ext>
              </a:extLst>
            </p:cNvPr>
            <p:cNvSpPr/>
            <p:nvPr/>
          </p:nvSpPr>
          <p:spPr>
            <a:xfrm>
              <a:off x="16605913" y="7050896"/>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4" name="Shape 10411">
              <a:extLst>
                <a:ext uri="{FF2B5EF4-FFF2-40B4-BE49-F238E27FC236}">
                  <a16:creationId xmlns:a16="http://schemas.microsoft.com/office/drawing/2014/main" xmlns="" id="{7E1AFEA9-F6B0-4F81-BE9A-6D89C48FEAC6}"/>
                </a:ext>
              </a:extLst>
            </p:cNvPr>
            <p:cNvSpPr/>
            <p:nvPr/>
          </p:nvSpPr>
          <p:spPr>
            <a:xfrm>
              <a:off x="17109012" y="5013808"/>
              <a:ext cx="413677" cy="591501"/>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5" name="Shape 10412">
              <a:extLst>
                <a:ext uri="{FF2B5EF4-FFF2-40B4-BE49-F238E27FC236}">
                  <a16:creationId xmlns:a16="http://schemas.microsoft.com/office/drawing/2014/main" xmlns="" id="{60039F5C-0C7B-41B3-B1DA-A1A6E190FC7E}"/>
                </a:ext>
              </a:extLst>
            </p:cNvPr>
            <p:cNvSpPr/>
            <p:nvPr/>
          </p:nvSpPr>
          <p:spPr>
            <a:xfrm>
              <a:off x="16082433" y="4790078"/>
              <a:ext cx="583511"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96" name="Shape 10413">
              <a:extLst>
                <a:ext uri="{FF2B5EF4-FFF2-40B4-BE49-F238E27FC236}">
                  <a16:creationId xmlns:a16="http://schemas.microsoft.com/office/drawing/2014/main" xmlns="" id="{C80FDA73-0F12-4020-A740-E255F6D8A2EE}"/>
                </a:ext>
              </a:extLst>
            </p:cNvPr>
            <p:cNvSpPr/>
            <p:nvPr/>
          </p:nvSpPr>
          <p:spPr>
            <a:xfrm>
              <a:off x="21000318" y="5616838"/>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7" name="Shape 10414">
              <a:extLst>
                <a:ext uri="{FF2B5EF4-FFF2-40B4-BE49-F238E27FC236}">
                  <a16:creationId xmlns:a16="http://schemas.microsoft.com/office/drawing/2014/main" xmlns="" id="{73B333E9-3C1A-42B0-A974-452506EDDC81}"/>
                </a:ext>
              </a:extLst>
            </p:cNvPr>
            <p:cNvSpPr/>
            <p:nvPr/>
          </p:nvSpPr>
          <p:spPr>
            <a:xfrm>
              <a:off x="14548058" y="892750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98" name="Shape 10415">
              <a:extLst>
                <a:ext uri="{FF2B5EF4-FFF2-40B4-BE49-F238E27FC236}">
                  <a16:creationId xmlns:a16="http://schemas.microsoft.com/office/drawing/2014/main" xmlns="" id="{CEB06B00-15EF-4F94-80B5-E86AF0243345}"/>
                </a:ext>
              </a:extLst>
            </p:cNvPr>
            <p:cNvSpPr/>
            <p:nvPr/>
          </p:nvSpPr>
          <p:spPr>
            <a:xfrm>
              <a:off x="19258837" y="11958731"/>
              <a:ext cx="567699" cy="676947"/>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99" name="Shape 10416">
              <a:extLst>
                <a:ext uri="{FF2B5EF4-FFF2-40B4-BE49-F238E27FC236}">
                  <a16:creationId xmlns:a16="http://schemas.microsoft.com/office/drawing/2014/main" xmlns="" id="{F4E1448F-C07C-4FB9-8B8D-0D298B388D13}"/>
                </a:ext>
              </a:extLst>
            </p:cNvPr>
            <p:cNvSpPr/>
            <p:nvPr/>
          </p:nvSpPr>
          <p:spPr>
            <a:xfrm>
              <a:off x="20512929" y="11955407"/>
              <a:ext cx="678678" cy="59841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0" name="Shape 10417">
              <a:extLst>
                <a:ext uri="{FF2B5EF4-FFF2-40B4-BE49-F238E27FC236}">
                  <a16:creationId xmlns:a16="http://schemas.microsoft.com/office/drawing/2014/main" xmlns="" id="{9140BAA1-B280-4131-A1A4-04DC996CCF98}"/>
                </a:ext>
              </a:extLst>
            </p:cNvPr>
            <p:cNvSpPr/>
            <p:nvPr/>
          </p:nvSpPr>
          <p:spPr>
            <a:xfrm>
              <a:off x="19308419" y="13173056"/>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1" name="Shape 10418">
              <a:extLst>
                <a:ext uri="{FF2B5EF4-FFF2-40B4-BE49-F238E27FC236}">
                  <a16:creationId xmlns:a16="http://schemas.microsoft.com/office/drawing/2014/main" xmlns="" id="{9D2BE79B-2A0F-491E-A1DB-492C29EFCB2B}"/>
                </a:ext>
              </a:extLst>
            </p:cNvPr>
            <p:cNvSpPr/>
            <p:nvPr/>
          </p:nvSpPr>
          <p:spPr>
            <a:xfrm>
              <a:off x="19278047" y="12757726"/>
              <a:ext cx="364916"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2" name="Shape 10419">
              <a:extLst>
                <a:ext uri="{FF2B5EF4-FFF2-40B4-BE49-F238E27FC236}">
                  <a16:creationId xmlns:a16="http://schemas.microsoft.com/office/drawing/2014/main" xmlns="" id="{90753426-DF97-4C60-9E4A-781BD7492CB5}"/>
                </a:ext>
              </a:extLst>
            </p:cNvPr>
            <p:cNvSpPr/>
            <p:nvPr/>
          </p:nvSpPr>
          <p:spPr>
            <a:xfrm>
              <a:off x="18249834" y="13272749"/>
              <a:ext cx="957659"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3" name="Shape 10420">
              <a:extLst>
                <a:ext uri="{FF2B5EF4-FFF2-40B4-BE49-F238E27FC236}">
                  <a16:creationId xmlns:a16="http://schemas.microsoft.com/office/drawing/2014/main" xmlns="" id="{3BA0035C-5C87-4F02-9CFC-DEB80E4B9DBE}"/>
                </a:ext>
              </a:extLst>
            </p:cNvPr>
            <p:cNvSpPr/>
            <p:nvPr/>
          </p:nvSpPr>
          <p:spPr>
            <a:xfrm>
              <a:off x="20962861" y="13425299"/>
              <a:ext cx="410124" cy="290707"/>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4" name="Shape 10421">
              <a:extLst>
                <a:ext uri="{FF2B5EF4-FFF2-40B4-BE49-F238E27FC236}">
                  <a16:creationId xmlns:a16="http://schemas.microsoft.com/office/drawing/2014/main" xmlns="" id="{60EA2869-D1AD-4505-97CB-DC85F8C0C4EE}"/>
                </a:ext>
              </a:extLst>
            </p:cNvPr>
            <p:cNvSpPr/>
            <p:nvPr/>
          </p:nvSpPr>
          <p:spPr>
            <a:xfrm>
              <a:off x="17299512" y="11350027"/>
              <a:ext cx="844727" cy="1120378"/>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05" name="Shape 10422">
              <a:extLst>
                <a:ext uri="{FF2B5EF4-FFF2-40B4-BE49-F238E27FC236}">
                  <a16:creationId xmlns:a16="http://schemas.microsoft.com/office/drawing/2014/main" xmlns="" id="{C4BEB410-F039-48BE-8D23-1B7A6D4D6A19}"/>
                </a:ext>
              </a:extLst>
            </p:cNvPr>
            <p:cNvSpPr/>
            <p:nvPr/>
          </p:nvSpPr>
          <p:spPr>
            <a:xfrm>
              <a:off x="20005513" y="11848666"/>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6" name="Shape 10423">
              <a:extLst>
                <a:ext uri="{FF2B5EF4-FFF2-40B4-BE49-F238E27FC236}">
                  <a16:creationId xmlns:a16="http://schemas.microsoft.com/office/drawing/2014/main" xmlns="" id="{B70B88EB-CBAF-4100-A40E-5FDEAB931517}"/>
                </a:ext>
              </a:extLst>
            </p:cNvPr>
            <p:cNvSpPr/>
            <p:nvPr/>
          </p:nvSpPr>
          <p:spPr>
            <a:xfrm>
              <a:off x="20278364" y="10951879"/>
              <a:ext cx="600731" cy="838468"/>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7" name="Shape 10424">
              <a:extLst>
                <a:ext uri="{FF2B5EF4-FFF2-40B4-BE49-F238E27FC236}">
                  <a16:creationId xmlns:a16="http://schemas.microsoft.com/office/drawing/2014/main" xmlns="" id="{27CD1446-33B9-44CB-B331-FC2F010DC934}"/>
                </a:ext>
              </a:extLst>
            </p:cNvPr>
            <p:cNvSpPr/>
            <p:nvPr/>
          </p:nvSpPr>
          <p:spPr>
            <a:xfrm>
              <a:off x="18922347" y="11328122"/>
              <a:ext cx="534330"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8" name="Shape 10425">
              <a:extLst>
                <a:ext uri="{FF2B5EF4-FFF2-40B4-BE49-F238E27FC236}">
                  <a16:creationId xmlns:a16="http://schemas.microsoft.com/office/drawing/2014/main" xmlns="" id="{A6193535-F322-491E-B497-E931CACB48FE}"/>
                </a:ext>
              </a:extLst>
            </p:cNvPr>
            <p:cNvSpPr/>
            <p:nvPr/>
          </p:nvSpPr>
          <p:spPr>
            <a:xfrm>
              <a:off x="18412450" y="12553817"/>
              <a:ext cx="745366"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9" name="Shape 10426">
              <a:extLst>
                <a:ext uri="{FF2B5EF4-FFF2-40B4-BE49-F238E27FC236}">
                  <a16:creationId xmlns:a16="http://schemas.microsoft.com/office/drawing/2014/main" xmlns="" id="{774137B3-BA29-46D7-A624-4208534F14B4}"/>
                </a:ext>
              </a:extLst>
            </p:cNvPr>
            <p:cNvSpPr/>
            <p:nvPr/>
          </p:nvSpPr>
          <p:spPr>
            <a:xfrm>
              <a:off x="17735944" y="12437854"/>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0" name="Shape 10427">
              <a:extLst>
                <a:ext uri="{FF2B5EF4-FFF2-40B4-BE49-F238E27FC236}">
                  <a16:creationId xmlns:a16="http://schemas.microsoft.com/office/drawing/2014/main" xmlns="" id="{DD82D299-B5B2-4BE5-AE46-FD2D57F5D712}"/>
                </a:ext>
              </a:extLst>
            </p:cNvPr>
            <p:cNvSpPr/>
            <p:nvPr/>
          </p:nvSpPr>
          <p:spPr>
            <a:xfrm>
              <a:off x="18227288" y="11702041"/>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1" name="Shape 10428">
              <a:extLst>
                <a:ext uri="{FF2B5EF4-FFF2-40B4-BE49-F238E27FC236}">
                  <a16:creationId xmlns:a16="http://schemas.microsoft.com/office/drawing/2014/main" xmlns="" id="{C478AE3A-107E-4BD2-9D00-B514A7460F01}"/>
                </a:ext>
              </a:extLst>
            </p:cNvPr>
            <p:cNvSpPr/>
            <p:nvPr/>
          </p:nvSpPr>
          <p:spPr>
            <a:xfrm>
              <a:off x="20222346" y="13053979"/>
              <a:ext cx="570427" cy="64004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2">
                <a:lumMod val="90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2" name="Shape 10429">
              <a:extLst>
                <a:ext uri="{FF2B5EF4-FFF2-40B4-BE49-F238E27FC236}">
                  <a16:creationId xmlns:a16="http://schemas.microsoft.com/office/drawing/2014/main" xmlns="" id="{E9B723DF-5ABA-4BFF-B7BB-E75A6CD5598D}"/>
                </a:ext>
              </a:extLst>
            </p:cNvPr>
            <p:cNvSpPr/>
            <p:nvPr/>
          </p:nvSpPr>
          <p:spPr>
            <a:xfrm>
              <a:off x="20917823" y="12545727"/>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3" name="Shape 10430">
              <a:extLst>
                <a:ext uri="{FF2B5EF4-FFF2-40B4-BE49-F238E27FC236}">
                  <a16:creationId xmlns:a16="http://schemas.microsoft.com/office/drawing/2014/main" xmlns="" id="{0DD82411-E9E3-4641-BA70-D5659FB51DE8}"/>
                </a:ext>
              </a:extLst>
            </p:cNvPr>
            <p:cNvSpPr/>
            <p:nvPr/>
          </p:nvSpPr>
          <p:spPr>
            <a:xfrm>
              <a:off x="15503343" y="5283845"/>
              <a:ext cx="387479"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4" name="Shape 10431">
              <a:extLst>
                <a:ext uri="{FF2B5EF4-FFF2-40B4-BE49-F238E27FC236}">
                  <a16:creationId xmlns:a16="http://schemas.microsoft.com/office/drawing/2014/main" xmlns="" id="{AA68CF80-2A70-4677-A231-63D364A65A67}"/>
                </a:ext>
              </a:extLst>
            </p:cNvPr>
            <p:cNvSpPr/>
            <p:nvPr/>
          </p:nvSpPr>
          <p:spPr>
            <a:xfrm>
              <a:off x="15809852" y="8962276"/>
              <a:ext cx="461009" cy="97905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15" name="Shape 10432">
              <a:extLst>
                <a:ext uri="{FF2B5EF4-FFF2-40B4-BE49-F238E27FC236}">
                  <a16:creationId xmlns:a16="http://schemas.microsoft.com/office/drawing/2014/main" xmlns="" id="{0143AD48-F8B2-4051-AF29-8C724B31782A}"/>
                </a:ext>
              </a:extLst>
            </p:cNvPr>
            <p:cNvSpPr/>
            <p:nvPr/>
          </p:nvSpPr>
          <p:spPr>
            <a:xfrm>
              <a:off x="21191605" y="12910829"/>
              <a:ext cx="410124" cy="45400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6" name="Shape 10433">
              <a:extLst>
                <a:ext uri="{FF2B5EF4-FFF2-40B4-BE49-F238E27FC236}">
                  <a16:creationId xmlns:a16="http://schemas.microsoft.com/office/drawing/2014/main" xmlns="" id="{F13B3991-E434-47DC-8B3D-E4A9F19B0771}"/>
                </a:ext>
              </a:extLst>
            </p:cNvPr>
            <p:cNvSpPr/>
            <p:nvPr/>
          </p:nvSpPr>
          <p:spPr>
            <a:xfrm>
              <a:off x="19604389" y="11273229"/>
              <a:ext cx="550222" cy="527129"/>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7" name="Shape 10434">
              <a:extLst>
                <a:ext uri="{FF2B5EF4-FFF2-40B4-BE49-F238E27FC236}">
                  <a16:creationId xmlns:a16="http://schemas.microsoft.com/office/drawing/2014/main" xmlns="" id="{D7BBF1D2-3945-428F-A471-D16E0D23FC5E}"/>
                </a:ext>
              </a:extLst>
            </p:cNvPr>
            <p:cNvSpPr/>
            <p:nvPr/>
          </p:nvSpPr>
          <p:spPr>
            <a:xfrm>
              <a:off x="17735944" y="13251073"/>
              <a:ext cx="392649"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18" name="Shape 10435">
              <a:extLst>
                <a:ext uri="{FF2B5EF4-FFF2-40B4-BE49-F238E27FC236}">
                  <a16:creationId xmlns:a16="http://schemas.microsoft.com/office/drawing/2014/main" xmlns="" id="{B7A9682F-6192-4EA1-80DA-1402ED5532AF}"/>
                </a:ext>
              </a:extLst>
            </p:cNvPr>
            <p:cNvSpPr/>
            <p:nvPr/>
          </p:nvSpPr>
          <p:spPr>
            <a:xfrm>
              <a:off x="17721874" y="12822423"/>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9" name="Shape 10436">
              <a:extLst>
                <a:ext uri="{FF2B5EF4-FFF2-40B4-BE49-F238E27FC236}">
                  <a16:creationId xmlns:a16="http://schemas.microsoft.com/office/drawing/2014/main" xmlns="" id="{6FD738D5-66F0-49D0-A551-34345EBCE520}"/>
                </a:ext>
              </a:extLst>
            </p:cNvPr>
            <p:cNvSpPr/>
            <p:nvPr/>
          </p:nvSpPr>
          <p:spPr>
            <a:xfrm>
              <a:off x="18877036" y="1214536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0" name="Shape 10437">
              <a:extLst>
                <a:ext uri="{FF2B5EF4-FFF2-40B4-BE49-F238E27FC236}">
                  <a16:creationId xmlns:a16="http://schemas.microsoft.com/office/drawing/2014/main" xmlns="" id="{C2EADD7F-3CF3-4A89-A3E4-20D75BC76082}"/>
                </a:ext>
              </a:extLst>
            </p:cNvPr>
            <p:cNvSpPr/>
            <p:nvPr/>
          </p:nvSpPr>
          <p:spPr>
            <a:xfrm>
              <a:off x="21489022" y="13379422"/>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1" name="Shape 10438">
              <a:extLst>
                <a:ext uri="{FF2B5EF4-FFF2-40B4-BE49-F238E27FC236}">
                  <a16:creationId xmlns:a16="http://schemas.microsoft.com/office/drawing/2014/main" xmlns="" id="{0099AD7D-40B0-4918-842E-52F79EFCF866}"/>
                </a:ext>
              </a:extLst>
            </p:cNvPr>
            <p:cNvSpPr/>
            <p:nvPr/>
          </p:nvSpPr>
          <p:spPr>
            <a:xfrm>
              <a:off x="15223803" y="10656379"/>
              <a:ext cx="1231113" cy="1023300"/>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22" name="Shape 10439">
              <a:extLst>
                <a:ext uri="{FF2B5EF4-FFF2-40B4-BE49-F238E27FC236}">
                  <a16:creationId xmlns:a16="http://schemas.microsoft.com/office/drawing/2014/main" xmlns="" id="{59CCBD77-2520-45CD-83EB-C9DD6AF70F0D}"/>
                </a:ext>
              </a:extLst>
            </p:cNvPr>
            <p:cNvSpPr/>
            <p:nvPr/>
          </p:nvSpPr>
          <p:spPr>
            <a:xfrm>
              <a:off x="15028523" y="10196678"/>
              <a:ext cx="417298"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23" name="Shape 10440">
              <a:extLst>
                <a:ext uri="{FF2B5EF4-FFF2-40B4-BE49-F238E27FC236}">
                  <a16:creationId xmlns:a16="http://schemas.microsoft.com/office/drawing/2014/main" xmlns="" id="{23EE4E6D-E130-4022-A5B8-09F7500C1DAE}"/>
                </a:ext>
              </a:extLst>
            </p:cNvPr>
            <p:cNvSpPr/>
            <p:nvPr/>
          </p:nvSpPr>
          <p:spPr>
            <a:xfrm>
              <a:off x="16217782" y="994407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24" name="Shape 10441">
              <a:extLst>
                <a:ext uri="{FF2B5EF4-FFF2-40B4-BE49-F238E27FC236}">
                  <a16:creationId xmlns:a16="http://schemas.microsoft.com/office/drawing/2014/main" xmlns="" id="{4251FABA-6BC9-4CAA-822C-291F1458D0A6}"/>
                </a:ext>
              </a:extLst>
            </p:cNvPr>
            <p:cNvSpPr/>
            <p:nvPr/>
          </p:nvSpPr>
          <p:spPr>
            <a:xfrm>
              <a:off x="14782479" y="8405887"/>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5" name="Shape 10442">
              <a:extLst>
                <a:ext uri="{FF2B5EF4-FFF2-40B4-BE49-F238E27FC236}">
                  <a16:creationId xmlns:a16="http://schemas.microsoft.com/office/drawing/2014/main" xmlns="" id="{345A2695-E56E-4A7F-BB87-A26C0533B3FC}"/>
                </a:ext>
              </a:extLst>
            </p:cNvPr>
            <p:cNvSpPr/>
            <p:nvPr/>
          </p:nvSpPr>
          <p:spPr>
            <a:xfrm>
              <a:off x="16163586" y="9475903"/>
              <a:ext cx="425669" cy="396235"/>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6" name="Shape 10443">
              <a:extLst>
                <a:ext uri="{FF2B5EF4-FFF2-40B4-BE49-F238E27FC236}">
                  <a16:creationId xmlns:a16="http://schemas.microsoft.com/office/drawing/2014/main" xmlns="" id="{A47E6A61-546C-42C7-9557-3413BE9FEE8C}"/>
                </a:ext>
              </a:extLst>
            </p:cNvPr>
            <p:cNvSpPr/>
            <p:nvPr/>
          </p:nvSpPr>
          <p:spPr>
            <a:xfrm>
              <a:off x="14923512" y="9401109"/>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7" name="Shape 10444">
              <a:extLst>
                <a:ext uri="{FF2B5EF4-FFF2-40B4-BE49-F238E27FC236}">
                  <a16:creationId xmlns:a16="http://schemas.microsoft.com/office/drawing/2014/main" xmlns="" id="{8A3C2593-57AF-41B3-91EE-79BE139B5015}"/>
                </a:ext>
              </a:extLst>
            </p:cNvPr>
            <p:cNvSpPr/>
            <p:nvPr/>
          </p:nvSpPr>
          <p:spPr>
            <a:xfrm>
              <a:off x="15668533" y="8652551"/>
              <a:ext cx="371824"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8" name="Shape 10445">
              <a:extLst>
                <a:ext uri="{FF2B5EF4-FFF2-40B4-BE49-F238E27FC236}">
                  <a16:creationId xmlns:a16="http://schemas.microsoft.com/office/drawing/2014/main" xmlns="" id="{F9280153-0376-445A-85B7-9810252F982C}"/>
                </a:ext>
              </a:extLst>
            </p:cNvPr>
            <p:cNvSpPr/>
            <p:nvPr/>
          </p:nvSpPr>
          <p:spPr>
            <a:xfrm>
              <a:off x="19159242" y="10658993"/>
              <a:ext cx="622764" cy="569103"/>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9" name="Shape 10446">
              <a:extLst>
                <a:ext uri="{FF2B5EF4-FFF2-40B4-BE49-F238E27FC236}">
                  <a16:creationId xmlns:a16="http://schemas.microsoft.com/office/drawing/2014/main" xmlns="" id="{D357AFFA-F6AC-4190-850F-07F11EFD709B}"/>
                </a:ext>
              </a:extLst>
            </p:cNvPr>
            <p:cNvSpPr/>
            <p:nvPr/>
          </p:nvSpPr>
          <p:spPr>
            <a:xfrm>
              <a:off x="15268309" y="8005297"/>
              <a:ext cx="498843" cy="5522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0" name="Shape 10447">
              <a:extLst>
                <a:ext uri="{FF2B5EF4-FFF2-40B4-BE49-F238E27FC236}">
                  <a16:creationId xmlns:a16="http://schemas.microsoft.com/office/drawing/2014/main" xmlns="" id="{A20DB16A-60ED-43AB-BEA2-770F78506878}"/>
                </a:ext>
              </a:extLst>
            </p:cNvPr>
            <p:cNvSpPr/>
            <p:nvPr/>
          </p:nvSpPr>
          <p:spPr>
            <a:xfrm>
              <a:off x="15182165" y="7422392"/>
              <a:ext cx="482786" cy="501735"/>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1" name="Shape 10448">
              <a:extLst>
                <a:ext uri="{FF2B5EF4-FFF2-40B4-BE49-F238E27FC236}">
                  <a16:creationId xmlns:a16="http://schemas.microsoft.com/office/drawing/2014/main" xmlns="" id="{33467B78-17ED-4877-B4E2-B184177BDF22}"/>
                </a:ext>
              </a:extLst>
            </p:cNvPr>
            <p:cNvSpPr/>
            <p:nvPr/>
          </p:nvSpPr>
          <p:spPr>
            <a:xfrm>
              <a:off x="15128412" y="6820063"/>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2" name="Shape 10449">
              <a:extLst>
                <a:ext uri="{FF2B5EF4-FFF2-40B4-BE49-F238E27FC236}">
                  <a16:creationId xmlns:a16="http://schemas.microsoft.com/office/drawing/2014/main" xmlns="" id="{37C0B013-90CD-40A1-B5FC-2EC644687178}"/>
                </a:ext>
              </a:extLst>
            </p:cNvPr>
            <p:cNvSpPr/>
            <p:nvPr/>
          </p:nvSpPr>
          <p:spPr>
            <a:xfrm>
              <a:off x="19860235" y="12623190"/>
              <a:ext cx="635104" cy="38320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33" name="Shape 10450">
              <a:extLst>
                <a:ext uri="{FF2B5EF4-FFF2-40B4-BE49-F238E27FC236}">
                  <a16:creationId xmlns:a16="http://schemas.microsoft.com/office/drawing/2014/main" xmlns="" id="{2CDAE8BE-876A-473D-BBC3-6F7606C46005}"/>
                </a:ext>
              </a:extLst>
            </p:cNvPr>
            <p:cNvSpPr/>
            <p:nvPr/>
          </p:nvSpPr>
          <p:spPr>
            <a:xfrm>
              <a:off x="17597371" y="10224894"/>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4" name="Shape 10451">
              <a:extLst>
                <a:ext uri="{FF2B5EF4-FFF2-40B4-BE49-F238E27FC236}">
                  <a16:creationId xmlns:a16="http://schemas.microsoft.com/office/drawing/2014/main" xmlns="" id="{93CFBD8A-10FD-4BF7-8675-8B833B2FBAFD}"/>
                </a:ext>
              </a:extLst>
            </p:cNvPr>
            <p:cNvSpPr/>
            <p:nvPr/>
          </p:nvSpPr>
          <p:spPr>
            <a:xfrm>
              <a:off x="16686920" y="10342144"/>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5" name="Shape 10452">
              <a:extLst>
                <a:ext uri="{FF2B5EF4-FFF2-40B4-BE49-F238E27FC236}">
                  <a16:creationId xmlns:a16="http://schemas.microsoft.com/office/drawing/2014/main" xmlns="" id="{60D45766-523F-4228-A57E-8883758C1F27}"/>
                </a:ext>
              </a:extLst>
            </p:cNvPr>
            <p:cNvSpPr/>
            <p:nvPr/>
          </p:nvSpPr>
          <p:spPr>
            <a:xfrm>
              <a:off x="16291801" y="1057320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6" name="Shape 10453">
              <a:extLst>
                <a:ext uri="{FF2B5EF4-FFF2-40B4-BE49-F238E27FC236}">
                  <a16:creationId xmlns:a16="http://schemas.microsoft.com/office/drawing/2014/main" xmlns="" id="{8A3102E6-65DD-4700-AC56-E4C6BB0F6EA9}"/>
                </a:ext>
              </a:extLst>
            </p:cNvPr>
            <p:cNvSpPr/>
            <p:nvPr/>
          </p:nvSpPr>
          <p:spPr>
            <a:xfrm>
              <a:off x="16950890" y="11189795"/>
              <a:ext cx="310646" cy="332440"/>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37" name="Shape 10454">
              <a:extLst>
                <a:ext uri="{FF2B5EF4-FFF2-40B4-BE49-F238E27FC236}">
                  <a16:creationId xmlns:a16="http://schemas.microsoft.com/office/drawing/2014/main" xmlns="" id="{1266D738-4C82-4925-A0BC-9248B4261DF5}"/>
                </a:ext>
              </a:extLst>
            </p:cNvPr>
            <p:cNvSpPr/>
            <p:nvPr/>
          </p:nvSpPr>
          <p:spPr>
            <a:xfrm>
              <a:off x="18327410" y="11333169"/>
              <a:ext cx="410124" cy="2907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8" name="Shape 10455">
              <a:extLst>
                <a:ext uri="{FF2B5EF4-FFF2-40B4-BE49-F238E27FC236}">
                  <a16:creationId xmlns:a16="http://schemas.microsoft.com/office/drawing/2014/main" xmlns="" id="{55DA7642-3410-49DB-A8BF-3ECD2BC175CF}"/>
                </a:ext>
              </a:extLst>
            </p:cNvPr>
            <p:cNvSpPr/>
            <p:nvPr/>
          </p:nvSpPr>
          <p:spPr>
            <a:xfrm>
              <a:off x="15200800" y="9711571"/>
              <a:ext cx="534280"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9" name="Shape 10456">
              <a:extLst>
                <a:ext uri="{FF2B5EF4-FFF2-40B4-BE49-F238E27FC236}">
                  <a16:creationId xmlns:a16="http://schemas.microsoft.com/office/drawing/2014/main" xmlns="" id="{F8E7360F-A249-4896-B17F-2F7966DA0936}"/>
                </a:ext>
              </a:extLst>
            </p:cNvPr>
            <p:cNvSpPr/>
            <p:nvPr/>
          </p:nvSpPr>
          <p:spPr>
            <a:xfrm>
              <a:off x="15431053" y="9155014"/>
              <a:ext cx="444362" cy="290705"/>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grpSp>
      <p:sp>
        <p:nvSpPr>
          <p:cNvPr id="140" name="TextBox 125">
            <a:extLst>
              <a:ext uri="{FF2B5EF4-FFF2-40B4-BE49-F238E27FC236}">
                <a16:creationId xmlns:a16="http://schemas.microsoft.com/office/drawing/2014/main" xmlns="" id="{2E6F011D-BAEC-4841-9F73-800B5EE4673D}"/>
              </a:ext>
            </a:extLst>
          </p:cNvPr>
          <p:cNvSpPr txBox="1"/>
          <p:nvPr/>
        </p:nvSpPr>
        <p:spPr>
          <a:xfrm>
            <a:off x="3648407" y="2399136"/>
            <a:ext cx="2447593" cy="1015663"/>
          </a:xfrm>
          <a:prstGeom prst="rect">
            <a:avLst/>
          </a:prstGeom>
          <a:noFill/>
        </p:spPr>
        <p:txBody>
          <a:bodyPr wrap="none" rtlCol="0" anchor="t" anchorCtr="0">
            <a:spAutoFit/>
          </a:bodyPr>
          <a:lstStyle/>
          <a:p>
            <a:r>
              <a:rPr lang="en-GB" sz="2000" dirty="0">
                <a:solidFill>
                  <a:schemeClr val="tx2"/>
                </a:solidFill>
                <a:latin typeface="+mj-lt"/>
                <a:ea typeface="League Spartan" charset="0"/>
                <a:cs typeface="Poppins" pitchFamily="2" charset="77"/>
              </a:rPr>
              <a:t>Establish ERM policies</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and set goals for </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implementation</a:t>
            </a:r>
          </a:p>
        </p:txBody>
      </p:sp>
      <p:sp>
        <p:nvSpPr>
          <p:cNvPr id="141" name="TextBox 129">
            <a:extLst>
              <a:ext uri="{FF2B5EF4-FFF2-40B4-BE49-F238E27FC236}">
                <a16:creationId xmlns:a16="http://schemas.microsoft.com/office/drawing/2014/main" xmlns="" id="{DA2CD6C0-2C1E-47F4-B9AC-87921418B11F}"/>
              </a:ext>
            </a:extLst>
          </p:cNvPr>
          <p:cNvSpPr txBox="1"/>
          <p:nvPr/>
        </p:nvSpPr>
        <p:spPr>
          <a:xfrm>
            <a:off x="9246591" y="2079751"/>
            <a:ext cx="2830262" cy="707886"/>
          </a:xfrm>
          <a:prstGeom prst="rect">
            <a:avLst/>
          </a:prstGeom>
          <a:noFill/>
        </p:spPr>
        <p:txBody>
          <a:bodyPr wrap="none" rtlCol="0" anchor="t" anchorCtr="0">
            <a:spAutoFit/>
          </a:bodyPr>
          <a:lstStyle/>
          <a:p>
            <a:r>
              <a:rPr lang="en-GB" sz="2000" dirty="0">
                <a:solidFill>
                  <a:schemeClr val="tx2"/>
                </a:solidFill>
                <a:latin typeface="+mj-lt"/>
                <a:ea typeface="League Spartan" charset="0"/>
                <a:cs typeface="Poppins" pitchFamily="2" charset="77"/>
              </a:rPr>
              <a:t>Frame accountability and </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authority</a:t>
            </a:r>
          </a:p>
        </p:txBody>
      </p:sp>
      <p:sp>
        <p:nvSpPr>
          <p:cNvPr id="142" name="TextBox 125">
            <a:extLst>
              <a:ext uri="{FF2B5EF4-FFF2-40B4-BE49-F238E27FC236}">
                <a16:creationId xmlns:a16="http://schemas.microsoft.com/office/drawing/2014/main" xmlns="" id="{F9AD940C-C529-4D7C-B53C-C6805EEA9C29}"/>
              </a:ext>
            </a:extLst>
          </p:cNvPr>
          <p:cNvSpPr txBox="1"/>
          <p:nvPr/>
        </p:nvSpPr>
        <p:spPr>
          <a:xfrm>
            <a:off x="3566713" y="3664379"/>
            <a:ext cx="2946384" cy="707886"/>
          </a:xfrm>
          <a:prstGeom prst="rect">
            <a:avLst/>
          </a:prstGeom>
          <a:noFill/>
        </p:spPr>
        <p:txBody>
          <a:bodyPr wrap="none" rtlCol="0" anchor="t" anchorCtr="0">
            <a:spAutoFit/>
          </a:bodyPr>
          <a:lstStyle/>
          <a:p>
            <a:r>
              <a:rPr lang="en-GB" sz="2000" dirty="0">
                <a:solidFill>
                  <a:schemeClr val="tx2"/>
                </a:solidFill>
                <a:latin typeface="+mj-lt"/>
                <a:ea typeface="League Spartan" charset="0"/>
                <a:cs typeface="Poppins" pitchFamily="2" charset="77"/>
              </a:rPr>
              <a:t>Promote ERM competence</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throughout the company</a:t>
            </a:r>
          </a:p>
        </p:txBody>
      </p:sp>
      <p:sp>
        <p:nvSpPr>
          <p:cNvPr id="143" name="TextBox 129">
            <a:extLst>
              <a:ext uri="{FF2B5EF4-FFF2-40B4-BE49-F238E27FC236}">
                <a16:creationId xmlns:a16="http://schemas.microsoft.com/office/drawing/2014/main" xmlns="" id="{61CDD17E-7917-45E7-AB83-60CBE4A85285}"/>
              </a:ext>
            </a:extLst>
          </p:cNvPr>
          <p:cNvSpPr txBox="1"/>
          <p:nvPr/>
        </p:nvSpPr>
        <p:spPr>
          <a:xfrm>
            <a:off x="9267401" y="2730663"/>
            <a:ext cx="2666707" cy="1323439"/>
          </a:xfrm>
          <a:prstGeom prst="rect">
            <a:avLst/>
          </a:prstGeom>
          <a:noFill/>
        </p:spPr>
        <p:txBody>
          <a:bodyPr wrap="square" rtlCol="0" anchor="t" anchorCtr="0">
            <a:spAutoFit/>
          </a:bodyPr>
          <a:lstStyle/>
          <a:p>
            <a:r>
              <a:rPr lang="en-GB" sz="2000" dirty="0">
                <a:solidFill>
                  <a:schemeClr val="tx2"/>
                </a:solidFill>
                <a:latin typeface="+mj-lt"/>
                <a:ea typeface="League Spartan" charset="0"/>
                <a:cs typeface="Poppins" pitchFamily="2" charset="77"/>
              </a:rPr>
              <a:t>Guide integration of ERM with business planning and management activities</a:t>
            </a:r>
          </a:p>
        </p:txBody>
      </p:sp>
      <p:sp>
        <p:nvSpPr>
          <p:cNvPr id="144" name="TextBox 125">
            <a:extLst>
              <a:ext uri="{FF2B5EF4-FFF2-40B4-BE49-F238E27FC236}">
                <a16:creationId xmlns:a16="http://schemas.microsoft.com/office/drawing/2014/main" xmlns="" id="{EF00DCF3-BA49-4F39-9646-14B0020DFB2D}"/>
              </a:ext>
            </a:extLst>
          </p:cNvPr>
          <p:cNvSpPr txBox="1"/>
          <p:nvPr/>
        </p:nvSpPr>
        <p:spPr>
          <a:xfrm>
            <a:off x="3659157" y="4483259"/>
            <a:ext cx="2445541" cy="1323439"/>
          </a:xfrm>
          <a:prstGeom prst="rect">
            <a:avLst/>
          </a:prstGeom>
          <a:noFill/>
        </p:spPr>
        <p:txBody>
          <a:bodyPr wrap="none" rtlCol="0" anchor="t" anchorCtr="0">
            <a:spAutoFit/>
          </a:bodyPr>
          <a:lstStyle/>
          <a:p>
            <a:r>
              <a:rPr lang="en-GB" sz="2000" dirty="0">
                <a:solidFill>
                  <a:schemeClr val="tx2"/>
                </a:solidFill>
                <a:latin typeface="+mj-lt"/>
                <a:ea typeface="League Spartan" charset="0"/>
                <a:cs typeface="Poppins" pitchFamily="2" charset="77"/>
              </a:rPr>
              <a:t>Oversee development</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of entity-wide and</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business unit specific</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risk tolerances</a:t>
            </a:r>
          </a:p>
        </p:txBody>
      </p:sp>
      <p:sp>
        <p:nvSpPr>
          <p:cNvPr id="145" name="TextBox 129">
            <a:extLst>
              <a:ext uri="{FF2B5EF4-FFF2-40B4-BE49-F238E27FC236}">
                <a16:creationId xmlns:a16="http://schemas.microsoft.com/office/drawing/2014/main" xmlns="" id="{D8BCCF44-3CBA-4EBF-ABE6-5D99DC548CDB}"/>
              </a:ext>
            </a:extLst>
          </p:cNvPr>
          <p:cNvSpPr txBox="1"/>
          <p:nvPr/>
        </p:nvSpPr>
        <p:spPr>
          <a:xfrm>
            <a:off x="9281593" y="4033798"/>
            <a:ext cx="2830262" cy="1015663"/>
          </a:xfrm>
          <a:prstGeom prst="rect">
            <a:avLst/>
          </a:prstGeom>
          <a:noFill/>
        </p:spPr>
        <p:txBody>
          <a:bodyPr wrap="square" rtlCol="0" anchor="t" anchorCtr="0">
            <a:spAutoFit/>
          </a:bodyPr>
          <a:lstStyle/>
          <a:p>
            <a:r>
              <a:rPr lang="en-GB" sz="2000" dirty="0">
                <a:solidFill>
                  <a:schemeClr val="tx2"/>
                </a:solidFill>
                <a:latin typeface="+mj-lt"/>
                <a:ea typeface="League Spartan" charset="0"/>
                <a:cs typeface="Poppins" pitchFamily="2" charset="77"/>
              </a:rPr>
              <a:t>Facilitate managers’ development</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of reporting protocols</a:t>
            </a:r>
          </a:p>
        </p:txBody>
      </p:sp>
      <p:sp>
        <p:nvSpPr>
          <p:cNvPr id="146" name="TextBox 129">
            <a:extLst>
              <a:ext uri="{FF2B5EF4-FFF2-40B4-BE49-F238E27FC236}">
                <a16:creationId xmlns:a16="http://schemas.microsoft.com/office/drawing/2014/main" xmlns="" id="{D3DF5A4D-75F5-4012-8D9D-0493FFBA9AA4}"/>
              </a:ext>
            </a:extLst>
          </p:cNvPr>
          <p:cNvSpPr txBox="1"/>
          <p:nvPr/>
        </p:nvSpPr>
        <p:spPr>
          <a:xfrm>
            <a:off x="9298016" y="5016825"/>
            <a:ext cx="2839057" cy="1323439"/>
          </a:xfrm>
          <a:prstGeom prst="rect">
            <a:avLst/>
          </a:prstGeom>
          <a:noFill/>
        </p:spPr>
        <p:txBody>
          <a:bodyPr wrap="square" rtlCol="0" anchor="t" anchorCtr="0">
            <a:spAutoFit/>
          </a:bodyPr>
          <a:lstStyle/>
          <a:p>
            <a:r>
              <a:rPr lang="en-GB" sz="2000" dirty="0">
                <a:solidFill>
                  <a:schemeClr val="tx2"/>
                </a:solidFill>
                <a:latin typeface="+mj-lt"/>
                <a:ea typeface="League Spartan" charset="0"/>
                <a:cs typeface="Poppins" pitchFamily="2" charset="77"/>
              </a:rPr>
              <a:t>Report to senior leadership on progress and recommend actions as needed</a:t>
            </a:r>
          </a:p>
        </p:txBody>
      </p:sp>
      <p:sp>
        <p:nvSpPr>
          <p:cNvPr id="147" name="Circle">
            <a:extLst>
              <a:ext uri="{FF2B5EF4-FFF2-40B4-BE49-F238E27FC236}">
                <a16:creationId xmlns:a16="http://schemas.microsoft.com/office/drawing/2014/main" xmlns="" id="{351C4A34-C88F-455D-8FE3-73BE8523F243}"/>
              </a:ext>
            </a:extLst>
          </p:cNvPr>
          <p:cNvSpPr/>
          <p:nvPr/>
        </p:nvSpPr>
        <p:spPr>
          <a:xfrm flipV="1">
            <a:off x="3437167" y="2975735"/>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49" name="Circle">
            <a:extLst>
              <a:ext uri="{FF2B5EF4-FFF2-40B4-BE49-F238E27FC236}">
                <a16:creationId xmlns:a16="http://schemas.microsoft.com/office/drawing/2014/main" xmlns="" id="{E7AE19DA-F402-4391-B471-05852E1B7BEE}"/>
              </a:ext>
            </a:extLst>
          </p:cNvPr>
          <p:cNvSpPr/>
          <p:nvPr/>
        </p:nvSpPr>
        <p:spPr>
          <a:xfrm flipV="1">
            <a:off x="3401967" y="4589503"/>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0" name="Circle">
            <a:extLst>
              <a:ext uri="{FF2B5EF4-FFF2-40B4-BE49-F238E27FC236}">
                <a16:creationId xmlns:a16="http://schemas.microsoft.com/office/drawing/2014/main" xmlns="" id="{500E2E1C-C7FB-4C9B-B174-D414FB91E12F}"/>
              </a:ext>
            </a:extLst>
          </p:cNvPr>
          <p:cNvSpPr/>
          <p:nvPr/>
        </p:nvSpPr>
        <p:spPr>
          <a:xfrm flipV="1">
            <a:off x="9100688" y="2195356"/>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1" name="Circle">
            <a:extLst>
              <a:ext uri="{FF2B5EF4-FFF2-40B4-BE49-F238E27FC236}">
                <a16:creationId xmlns:a16="http://schemas.microsoft.com/office/drawing/2014/main" xmlns="" id="{56EFC683-0832-4CA5-878A-06F17B31B301}"/>
              </a:ext>
            </a:extLst>
          </p:cNvPr>
          <p:cNvSpPr/>
          <p:nvPr/>
        </p:nvSpPr>
        <p:spPr>
          <a:xfrm flipV="1">
            <a:off x="9116399" y="2890805"/>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2" name="Circle">
            <a:extLst>
              <a:ext uri="{FF2B5EF4-FFF2-40B4-BE49-F238E27FC236}">
                <a16:creationId xmlns:a16="http://schemas.microsoft.com/office/drawing/2014/main" xmlns="" id="{D9F9D0BE-87DE-4800-BAFF-995ECCC5A395}"/>
              </a:ext>
            </a:extLst>
          </p:cNvPr>
          <p:cNvSpPr/>
          <p:nvPr/>
        </p:nvSpPr>
        <p:spPr>
          <a:xfrm flipV="1">
            <a:off x="9186684" y="4260980"/>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3" name="Circle">
            <a:extLst>
              <a:ext uri="{FF2B5EF4-FFF2-40B4-BE49-F238E27FC236}">
                <a16:creationId xmlns:a16="http://schemas.microsoft.com/office/drawing/2014/main" xmlns="" id="{7EB8EE95-E6FA-47B1-8904-2D388B5CF2E2}"/>
              </a:ext>
            </a:extLst>
          </p:cNvPr>
          <p:cNvSpPr/>
          <p:nvPr/>
        </p:nvSpPr>
        <p:spPr>
          <a:xfrm flipV="1">
            <a:off x="9185865" y="4981074"/>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4" name="Circle">
            <a:extLst>
              <a:ext uri="{FF2B5EF4-FFF2-40B4-BE49-F238E27FC236}">
                <a16:creationId xmlns:a16="http://schemas.microsoft.com/office/drawing/2014/main" xmlns="" id="{8EB08616-D2BA-4652-8265-B6254FE6EB71}"/>
              </a:ext>
            </a:extLst>
          </p:cNvPr>
          <p:cNvSpPr/>
          <p:nvPr/>
        </p:nvSpPr>
        <p:spPr>
          <a:xfrm flipV="1">
            <a:off x="3426281" y="3988107"/>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Tree>
    <p:extLst>
      <p:ext uri="{BB962C8B-B14F-4D97-AF65-F5344CB8AC3E}">
        <p14:creationId xmlns:p14="http://schemas.microsoft.com/office/powerpoint/2010/main" val="4023133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4616" y="502380"/>
            <a:ext cx="8852375" cy="697353"/>
          </a:xfrm>
        </p:spPr>
        <p:txBody>
          <a:bodyPr>
            <a:normAutofit/>
          </a:bodyPr>
          <a:lstStyle/>
          <a:p>
            <a:r>
              <a:rPr lang="en-GB" dirty="0"/>
              <a:t>Development of a Risk Culture</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71487" y="1878824"/>
            <a:ext cx="3574566" cy="456052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development of a Risk Culture is critical to effective Enterprise Risk Management.</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Risk culture is the system of values and </a:t>
            </a:r>
            <a:r>
              <a:rPr lang="en-GB" sz="2200" dirty="0" err="1">
                <a:solidFill>
                  <a:srgbClr val="245473"/>
                </a:solidFill>
                <a:latin typeface="+mj-lt"/>
                <a:ea typeface="Open Sans Light" panose="020B0306030504020204" pitchFamily="34" charset="0"/>
                <a:cs typeface="Open Sans Light" panose="020B0306030504020204" pitchFamily="34" charset="0"/>
              </a:rPr>
              <a:t>behaviors</a:t>
            </a:r>
            <a:r>
              <a:rPr lang="en-GB" sz="2200" dirty="0">
                <a:solidFill>
                  <a:srgbClr val="245473"/>
                </a:solidFill>
                <a:latin typeface="+mj-lt"/>
                <a:ea typeface="Open Sans Light" panose="020B0306030504020204" pitchFamily="34" charset="0"/>
                <a:cs typeface="Open Sans Light" panose="020B0306030504020204" pitchFamily="34" charset="0"/>
              </a:rPr>
              <a:t> present in an organization that shapes risk decisions of management and employees. One important element of risk culture is a common understanding of an organization and its business purpose.</a:t>
            </a:r>
          </a:p>
        </p:txBody>
      </p:sp>
      <p:sp>
        <p:nvSpPr>
          <p:cNvPr id="11" name="Freeform 1">
            <a:extLst>
              <a:ext uri="{FF2B5EF4-FFF2-40B4-BE49-F238E27FC236}">
                <a16:creationId xmlns:a16="http://schemas.microsoft.com/office/drawing/2014/main" xmlns="" id="{B8E330D1-D206-43BD-9185-54FF751A6876}"/>
              </a:ext>
            </a:extLst>
          </p:cNvPr>
          <p:cNvSpPr>
            <a:spLocks noChangeArrowheads="1"/>
          </p:cNvSpPr>
          <p:nvPr/>
        </p:nvSpPr>
        <p:spPr bwMode="auto">
          <a:xfrm>
            <a:off x="6711372" y="5220175"/>
            <a:ext cx="2586093" cy="786768"/>
          </a:xfrm>
          <a:custGeom>
            <a:avLst/>
            <a:gdLst>
              <a:gd name="T0" fmla="*/ 11444 w 11466"/>
              <a:gd name="T1" fmla="*/ 57 h 3490"/>
              <a:gd name="T2" fmla="*/ 11398 w 11466"/>
              <a:gd name="T3" fmla="*/ 291 h 3490"/>
              <a:gd name="T4" fmla="*/ 11285 w 11466"/>
              <a:gd name="T5" fmla="*/ 525 h 3490"/>
              <a:gd name="T6" fmla="*/ 11135 w 11466"/>
              <a:gd name="T7" fmla="*/ 720 h 3490"/>
              <a:gd name="T8" fmla="*/ 10892 w 11466"/>
              <a:gd name="T9" fmla="*/ 947 h 3490"/>
              <a:gd name="T10" fmla="*/ 10535 w 11466"/>
              <a:gd name="T11" fmla="*/ 1192 h 3490"/>
              <a:gd name="T12" fmla="*/ 10174 w 11466"/>
              <a:gd name="T13" fmla="*/ 1383 h 3490"/>
              <a:gd name="T14" fmla="*/ 9867 w 11466"/>
              <a:gd name="T15" fmla="*/ 1517 h 3490"/>
              <a:gd name="T16" fmla="*/ 9452 w 11466"/>
              <a:gd name="T17" fmla="*/ 1671 h 3490"/>
              <a:gd name="T18" fmla="*/ 9028 w 11466"/>
              <a:gd name="T19" fmla="*/ 1799 h 3490"/>
              <a:gd name="T20" fmla="*/ 8551 w 11466"/>
              <a:gd name="T21" fmla="*/ 1919 h 3490"/>
              <a:gd name="T22" fmla="*/ 8107 w 11466"/>
              <a:gd name="T23" fmla="*/ 2009 h 3490"/>
              <a:gd name="T24" fmla="*/ 7581 w 11466"/>
              <a:gd name="T25" fmla="*/ 2093 h 3490"/>
              <a:gd name="T26" fmla="*/ 6756 w 11466"/>
              <a:gd name="T27" fmla="*/ 2182 h 3490"/>
              <a:gd name="T28" fmla="*/ 6013 w 11466"/>
              <a:gd name="T29" fmla="*/ 2222 h 3490"/>
              <a:gd name="T30" fmla="*/ 5204 w 11466"/>
              <a:gd name="T31" fmla="*/ 2224 h 3490"/>
              <a:gd name="T32" fmla="*/ 3898 w 11466"/>
              <a:gd name="T33" fmla="*/ 2133 h 3490"/>
              <a:gd name="T34" fmla="*/ 3291 w 11466"/>
              <a:gd name="T35" fmla="*/ 2047 h 3490"/>
              <a:gd name="T36" fmla="*/ 2645 w 11466"/>
              <a:gd name="T37" fmla="*/ 1919 h 3490"/>
              <a:gd name="T38" fmla="*/ 2160 w 11466"/>
              <a:gd name="T39" fmla="*/ 1793 h 3490"/>
              <a:gd name="T40" fmla="*/ 1792 w 11466"/>
              <a:gd name="T41" fmla="*/ 1676 h 3490"/>
              <a:gd name="T42" fmla="*/ 1525 w 11466"/>
              <a:gd name="T43" fmla="*/ 1577 h 3490"/>
              <a:gd name="T44" fmla="*/ 1233 w 11466"/>
              <a:gd name="T45" fmla="*/ 1451 h 3490"/>
              <a:gd name="T46" fmla="*/ 986 w 11466"/>
              <a:gd name="T47" fmla="*/ 1326 h 3490"/>
              <a:gd name="T48" fmla="*/ 761 w 11466"/>
              <a:gd name="T49" fmla="*/ 1193 h 3490"/>
              <a:gd name="T50" fmla="*/ 570 w 11466"/>
              <a:gd name="T51" fmla="*/ 1059 h 3490"/>
              <a:gd name="T52" fmla="*/ 400 w 11466"/>
              <a:gd name="T53" fmla="*/ 914 h 3490"/>
              <a:gd name="T54" fmla="*/ 258 w 11466"/>
              <a:gd name="T55" fmla="*/ 764 h 3490"/>
              <a:gd name="T56" fmla="*/ 140 w 11466"/>
              <a:gd name="T57" fmla="*/ 598 h 3490"/>
              <a:gd name="T58" fmla="*/ 67 w 11466"/>
              <a:gd name="T59" fmla="*/ 454 h 3490"/>
              <a:gd name="T60" fmla="*/ 14 w 11466"/>
              <a:gd name="T61" fmla="*/ 279 h 3490"/>
              <a:gd name="T62" fmla="*/ 21 w 11466"/>
              <a:gd name="T63" fmla="*/ 1438 h 3490"/>
              <a:gd name="T64" fmla="*/ 47 w 11466"/>
              <a:gd name="T65" fmla="*/ 1595 h 3490"/>
              <a:gd name="T66" fmla="*/ 110 w 11466"/>
              <a:gd name="T67" fmla="*/ 1768 h 3490"/>
              <a:gd name="T68" fmla="*/ 192 w 11466"/>
              <a:gd name="T69" fmla="*/ 1911 h 3490"/>
              <a:gd name="T70" fmla="*/ 322 w 11466"/>
              <a:gd name="T71" fmla="*/ 2075 h 3490"/>
              <a:gd name="T72" fmla="*/ 473 w 11466"/>
              <a:gd name="T73" fmla="*/ 2224 h 3490"/>
              <a:gd name="T74" fmla="*/ 654 w 11466"/>
              <a:gd name="T75" fmla="*/ 2367 h 3490"/>
              <a:gd name="T76" fmla="*/ 854 w 11466"/>
              <a:gd name="T77" fmla="*/ 2499 h 3490"/>
              <a:gd name="T78" fmla="*/ 1099 w 11466"/>
              <a:gd name="T79" fmla="*/ 2636 h 3490"/>
              <a:gd name="T80" fmla="*/ 1340 w 11466"/>
              <a:gd name="T81" fmla="*/ 2751 h 3490"/>
              <a:gd name="T82" fmla="*/ 1639 w 11466"/>
              <a:gd name="T83" fmla="*/ 2874 h 3490"/>
              <a:gd name="T84" fmla="*/ 1911 w 11466"/>
              <a:gd name="T85" fmla="*/ 2970 h 3490"/>
              <a:gd name="T86" fmla="*/ 2296 w 11466"/>
              <a:gd name="T87" fmla="*/ 3086 h 3490"/>
              <a:gd name="T88" fmla="*/ 2777 w 11466"/>
              <a:gd name="T89" fmla="*/ 3205 h 3490"/>
              <a:gd name="T90" fmla="*/ 3317 w 11466"/>
              <a:gd name="T91" fmla="*/ 3308 h 3490"/>
              <a:gd name="T92" fmla="*/ 3809 w 11466"/>
              <a:gd name="T93" fmla="*/ 3380 h 3490"/>
              <a:gd name="T94" fmla="*/ 4916 w 11466"/>
              <a:gd name="T95" fmla="*/ 3473 h 3490"/>
              <a:gd name="T96" fmla="*/ 5786 w 11466"/>
              <a:gd name="T97" fmla="*/ 3488 h 3490"/>
              <a:gd name="T98" fmla="*/ 6396 w 11466"/>
              <a:gd name="T99" fmla="*/ 3468 h 3490"/>
              <a:gd name="T100" fmla="*/ 7422 w 11466"/>
              <a:gd name="T101" fmla="*/ 3378 h 3490"/>
              <a:gd name="T102" fmla="*/ 7950 w 11466"/>
              <a:gd name="T103" fmla="*/ 3300 h 3490"/>
              <a:gd name="T104" fmla="*/ 8478 w 11466"/>
              <a:gd name="T105" fmla="*/ 3199 h 3490"/>
              <a:gd name="T106" fmla="*/ 8964 w 11466"/>
              <a:gd name="T107" fmla="*/ 3083 h 3490"/>
              <a:gd name="T108" fmla="*/ 9404 w 11466"/>
              <a:gd name="T109" fmla="*/ 2953 h 3490"/>
              <a:gd name="T110" fmla="*/ 9817 w 11466"/>
              <a:gd name="T111" fmla="*/ 2805 h 3490"/>
              <a:gd name="T112" fmla="*/ 10127 w 11466"/>
              <a:gd name="T113" fmla="*/ 2675 h 3490"/>
              <a:gd name="T114" fmla="*/ 10401 w 11466"/>
              <a:gd name="T115" fmla="*/ 2539 h 3490"/>
              <a:gd name="T116" fmla="*/ 10752 w 11466"/>
              <a:gd name="T117" fmla="*/ 2326 h 3490"/>
              <a:gd name="T118" fmla="*/ 11042 w 11466"/>
              <a:gd name="T119" fmla="*/ 2095 h 3490"/>
              <a:gd name="T120" fmla="*/ 11219 w 11466"/>
              <a:gd name="T121" fmla="*/ 1904 h 3490"/>
              <a:gd name="T122" fmla="*/ 11345 w 11466"/>
              <a:gd name="T123" fmla="*/ 1717 h 3490"/>
              <a:gd name="T124" fmla="*/ 11427 w 11466"/>
              <a:gd name="T125" fmla="*/ 1522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66" h="3490">
                <a:moveTo>
                  <a:pt x="11460" y="1365"/>
                </a:moveTo>
                <a:lnTo>
                  <a:pt x="11460" y="1365"/>
                </a:lnTo>
                <a:cubicBezTo>
                  <a:pt x="11460" y="1361"/>
                  <a:pt x="11461" y="1357"/>
                  <a:pt x="11461" y="1354"/>
                </a:cubicBezTo>
                <a:lnTo>
                  <a:pt x="11461" y="1354"/>
                </a:lnTo>
                <a:cubicBezTo>
                  <a:pt x="11462" y="1346"/>
                  <a:pt x="11462" y="1339"/>
                  <a:pt x="11463" y="1331"/>
                </a:cubicBezTo>
                <a:lnTo>
                  <a:pt x="11463" y="1331"/>
                </a:lnTo>
                <a:cubicBezTo>
                  <a:pt x="11463" y="1327"/>
                  <a:pt x="11464" y="1322"/>
                  <a:pt x="11464" y="1318"/>
                </a:cubicBezTo>
                <a:lnTo>
                  <a:pt x="11464" y="1318"/>
                </a:lnTo>
                <a:cubicBezTo>
                  <a:pt x="11464" y="1311"/>
                  <a:pt x="11464" y="1304"/>
                  <a:pt x="11465" y="1298"/>
                </a:cubicBezTo>
                <a:lnTo>
                  <a:pt x="11465" y="1298"/>
                </a:lnTo>
                <a:cubicBezTo>
                  <a:pt x="11465" y="1293"/>
                  <a:pt x="11465" y="1288"/>
                  <a:pt x="11465" y="1283"/>
                </a:cubicBezTo>
                <a:lnTo>
                  <a:pt x="11465" y="1283"/>
                </a:lnTo>
                <a:cubicBezTo>
                  <a:pt x="11465" y="1278"/>
                  <a:pt x="11465" y="1273"/>
                  <a:pt x="11465" y="1267"/>
                </a:cubicBezTo>
                <a:lnTo>
                  <a:pt x="11465" y="1262"/>
                </a:lnTo>
                <a:lnTo>
                  <a:pt x="11465" y="1260"/>
                </a:lnTo>
                <a:lnTo>
                  <a:pt x="11465" y="1260"/>
                </a:lnTo>
                <a:cubicBezTo>
                  <a:pt x="11458" y="840"/>
                  <a:pt x="11452" y="420"/>
                  <a:pt x="11446" y="0"/>
                </a:cubicBezTo>
                <a:lnTo>
                  <a:pt x="11446" y="0"/>
                </a:lnTo>
                <a:cubicBezTo>
                  <a:pt x="11446" y="7"/>
                  <a:pt x="11446" y="15"/>
                  <a:pt x="11446" y="23"/>
                </a:cubicBezTo>
                <a:lnTo>
                  <a:pt x="11446" y="23"/>
                </a:lnTo>
                <a:cubicBezTo>
                  <a:pt x="11446" y="27"/>
                  <a:pt x="11446" y="32"/>
                  <a:pt x="11445" y="37"/>
                </a:cubicBezTo>
                <a:lnTo>
                  <a:pt x="11445" y="37"/>
                </a:lnTo>
                <a:cubicBezTo>
                  <a:pt x="11445" y="44"/>
                  <a:pt x="11444" y="50"/>
                  <a:pt x="11444" y="57"/>
                </a:cubicBezTo>
                <a:lnTo>
                  <a:pt x="11444" y="57"/>
                </a:lnTo>
                <a:cubicBezTo>
                  <a:pt x="11444" y="61"/>
                  <a:pt x="11444" y="66"/>
                  <a:pt x="11444" y="71"/>
                </a:cubicBezTo>
                <a:lnTo>
                  <a:pt x="11444" y="71"/>
                </a:lnTo>
                <a:cubicBezTo>
                  <a:pt x="11443" y="78"/>
                  <a:pt x="11442" y="86"/>
                  <a:pt x="11441" y="93"/>
                </a:cubicBezTo>
                <a:lnTo>
                  <a:pt x="11441" y="93"/>
                </a:lnTo>
                <a:cubicBezTo>
                  <a:pt x="11441" y="97"/>
                  <a:pt x="11441" y="101"/>
                  <a:pt x="11440" y="105"/>
                </a:cubicBezTo>
                <a:lnTo>
                  <a:pt x="11440" y="105"/>
                </a:lnTo>
                <a:cubicBezTo>
                  <a:pt x="11439" y="116"/>
                  <a:pt x="11438" y="127"/>
                  <a:pt x="11436" y="139"/>
                </a:cubicBezTo>
                <a:lnTo>
                  <a:pt x="11436" y="139"/>
                </a:lnTo>
                <a:cubicBezTo>
                  <a:pt x="11434" y="150"/>
                  <a:pt x="11432" y="161"/>
                  <a:pt x="11430" y="172"/>
                </a:cubicBezTo>
                <a:lnTo>
                  <a:pt x="11430" y="172"/>
                </a:lnTo>
                <a:cubicBezTo>
                  <a:pt x="11429" y="176"/>
                  <a:pt x="11429" y="178"/>
                  <a:pt x="11428" y="181"/>
                </a:cubicBezTo>
                <a:lnTo>
                  <a:pt x="11428" y="181"/>
                </a:lnTo>
                <a:cubicBezTo>
                  <a:pt x="11426" y="191"/>
                  <a:pt x="11424" y="201"/>
                  <a:pt x="11421" y="211"/>
                </a:cubicBezTo>
                <a:lnTo>
                  <a:pt x="11421" y="211"/>
                </a:lnTo>
                <a:cubicBezTo>
                  <a:pt x="11421" y="214"/>
                  <a:pt x="11420" y="216"/>
                  <a:pt x="11419" y="218"/>
                </a:cubicBezTo>
                <a:lnTo>
                  <a:pt x="11419" y="218"/>
                </a:lnTo>
                <a:cubicBezTo>
                  <a:pt x="11417" y="231"/>
                  <a:pt x="11414" y="242"/>
                  <a:pt x="11410" y="254"/>
                </a:cubicBezTo>
                <a:lnTo>
                  <a:pt x="11410" y="254"/>
                </a:lnTo>
                <a:cubicBezTo>
                  <a:pt x="11410" y="257"/>
                  <a:pt x="11408" y="259"/>
                  <a:pt x="11408" y="262"/>
                </a:cubicBezTo>
                <a:lnTo>
                  <a:pt x="11408" y="262"/>
                </a:lnTo>
                <a:cubicBezTo>
                  <a:pt x="11405" y="272"/>
                  <a:pt x="11402" y="281"/>
                  <a:pt x="11398" y="291"/>
                </a:cubicBezTo>
                <a:lnTo>
                  <a:pt x="11398" y="291"/>
                </a:lnTo>
                <a:cubicBezTo>
                  <a:pt x="11397" y="294"/>
                  <a:pt x="11397" y="297"/>
                  <a:pt x="11396" y="299"/>
                </a:cubicBezTo>
                <a:lnTo>
                  <a:pt x="11396" y="299"/>
                </a:lnTo>
                <a:cubicBezTo>
                  <a:pt x="11391" y="311"/>
                  <a:pt x="11387" y="323"/>
                  <a:pt x="11383" y="335"/>
                </a:cubicBezTo>
                <a:lnTo>
                  <a:pt x="11383" y="335"/>
                </a:lnTo>
                <a:cubicBezTo>
                  <a:pt x="11382" y="336"/>
                  <a:pt x="11381" y="339"/>
                  <a:pt x="11380" y="340"/>
                </a:cubicBezTo>
                <a:lnTo>
                  <a:pt x="11380" y="340"/>
                </a:lnTo>
                <a:cubicBezTo>
                  <a:pt x="11376" y="350"/>
                  <a:pt x="11372" y="360"/>
                  <a:pt x="11368" y="370"/>
                </a:cubicBezTo>
                <a:lnTo>
                  <a:pt x="11368" y="370"/>
                </a:lnTo>
                <a:cubicBezTo>
                  <a:pt x="11367" y="373"/>
                  <a:pt x="11366" y="376"/>
                  <a:pt x="11364" y="379"/>
                </a:cubicBezTo>
                <a:lnTo>
                  <a:pt x="11364" y="379"/>
                </a:lnTo>
                <a:cubicBezTo>
                  <a:pt x="11359" y="390"/>
                  <a:pt x="11354" y="402"/>
                  <a:pt x="11348" y="413"/>
                </a:cubicBezTo>
                <a:lnTo>
                  <a:pt x="11348" y="413"/>
                </a:lnTo>
                <a:cubicBezTo>
                  <a:pt x="11348" y="413"/>
                  <a:pt x="11348" y="414"/>
                  <a:pt x="11347" y="414"/>
                </a:cubicBezTo>
                <a:lnTo>
                  <a:pt x="11347" y="414"/>
                </a:lnTo>
                <a:cubicBezTo>
                  <a:pt x="11342" y="425"/>
                  <a:pt x="11336" y="436"/>
                  <a:pt x="11330" y="447"/>
                </a:cubicBezTo>
                <a:lnTo>
                  <a:pt x="11330" y="447"/>
                </a:lnTo>
                <a:cubicBezTo>
                  <a:pt x="11328" y="450"/>
                  <a:pt x="11327" y="454"/>
                  <a:pt x="11326" y="457"/>
                </a:cubicBezTo>
                <a:lnTo>
                  <a:pt x="11326" y="457"/>
                </a:lnTo>
                <a:cubicBezTo>
                  <a:pt x="11320" y="466"/>
                  <a:pt x="11315" y="476"/>
                  <a:pt x="11308" y="486"/>
                </a:cubicBezTo>
                <a:lnTo>
                  <a:pt x="11308" y="486"/>
                </a:lnTo>
                <a:cubicBezTo>
                  <a:pt x="11308" y="488"/>
                  <a:pt x="11307" y="489"/>
                  <a:pt x="11306" y="491"/>
                </a:cubicBezTo>
                <a:lnTo>
                  <a:pt x="11306" y="491"/>
                </a:lnTo>
                <a:cubicBezTo>
                  <a:pt x="11299" y="503"/>
                  <a:pt x="11292" y="514"/>
                  <a:pt x="11285" y="525"/>
                </a:cubicBezTo>
                <a:lnTo>
                  <a:pt x="11285" y="525"/>
                </a:lnTo>
                <a:cubicBezTo>
                  <a:pt x="11283" y="528"/>
                  <a:pt x="11282" y="530"/>
                  <a:pt x="11280" y="533"/>
                </a:cubicBezTo>
                <a:lnTo>
                  <a:pt x="11280" y="533"/>
                </a:lnTo>
                <a:cubicBezTo>
                  <a:pt x="11274" y="542"/>
                  <a:pt x="11267" y="551"/>
                  <a:pt x="11261" y="561"/>
                </a:cubicBezTo>
                <a:lnTo>
                  <a:pt x="11261" y="561"/>
                </a:lnTo>
                <a:cubicBezTo>
                  <a:pt x="11260" y="563"/>
                  <a:pt x="11258" y="565"/>
                  <a:pt x="11256" y="568"/>
                </a:cubicBezTo>
                <a:lnTo>
                  <a:pt x="11256" y="568"/>
                </a:lnTo>
                <a:cubicBezTo>
                  <a:pt x="11249" y="580"/>
                  <a:pt x="11240" y="591"/>
                  <a:pt x="11232" y="601"/>
                </a:cubicBezTo>
                <a:lnTo>
                  <a:pt x="11232" y="601"/>
                </a:lnTo>
                <a:cubicBezTo>
                  <a:pt x="11231" y="604"/>
                  <a:pt x="11229" y="606"/>
                  <a:pt x="11227" y="608"/>
                </a:cubicBezTo>
                <a:lnTo>
                  <a:pt x="11227" y="608"/>
                </a:lnTo>
                <a:cubicBezTo>
                  <a:pt x="11220" y="617"/>
                  <a:pt x="11214" y="626"/>
                  <a:pt x="11206" y="635"/>
                </a:cubicBezTo>
                <a:lnTo>
                  <a:pt x="11206" y="635"/>
                </a:lnTo>
                <a:cubicBezTo>
                  <a:pt x="11204" y="638"/>
                  <a:pt x="11202" y="641"/>
                  <a:pt x="11200" y="644"/>
                </a:cubicBezTo>
                <a:lnTo>
                  <a:pt x="11200" y="644"/>
                </a:lnTo>
                <a:cubicBezTo>
                  <a:pt x="11191" y="655"/>
                  <a:pt x="11182" y="666"/>
                  <a:pt x="11172" y="677"/>
                </a:cubicBezTo>
                <a:lnTo>
                  <a:pt x="11172" y="677"/>
                </a:lnTo>
                <a:cubicBezTo>
                  <a:pt x="11171" y="679"/>
                  <a:pt x="11169" y="681"/>
                  <a:pt x="11168" y="682"/>
                </a:cubicBezTo>
                <a:lnTo>
                  <a:pt x="11168" y="682"/>
                </a:lnTo>
                <a:cubicBezTo>
                  <a:pt x="11160" y="692"/>
                  <a:pt x="11151" y="702"/>
                  <a:pt x="11142" y="712"/>
                </a:cubicBezTo>
                <a:lnTo>
                  <a:pt x="11142" y="712"/>
                </a:lnTo>
                <a:cubicBezTo>
                  <a:pt x="11140" y="715"/>
                  <a:pt x="11138" y="717"/>
                  <a:pt x="11135" y="720"/>
                </a:cubicBezTo>
                <a:lnTo>
                  <a:pt x="11135" y="720"/>
                </a:lnTo>
                <a:cubicBezTo>
                  <a:pt x="11125" y="731"/>
                  <a:pt x="11115" y="742"/>
                  <a:pt x="11104" y="753"/>
                </a:cubicBezTo>
                <a:lnTo>
                  <a:pt x="11104" y="753"/>
                </a:lnTo>
                <a:cubicBezTo>
                  <a:pt x="11103" y="755"/>
                  <a:pt x="11102" y="756"/>
                  <a:pt x="11101" y="757"/>
                </a:cubicBezTo>
                <a:lnTo>
                  <a:pt x="11101" y="757"/>
                </a:lnTo>
                <a:cubicBezTo>
                  <a:pt x="11091" y="767"/>
                  <a:pt x="11081" y="777"/>
                  <a:pt x="11071" y="787"/>
                </a:cubicBezTo>
                <a:lnTo>
                  <a:pt x="11071" y="787"/>
                </a:lnTo>
                <a:cubicBezTo>
                  <a:pt x="11069" y="790"/>
                  <a:pt x="11066" y="792"/>
                  <a:pt x="11063" y="795"/>
                </a:cubicBezTo>
                <a:lnTo>
                  <a:pt x="11063" y="795"/>
                </a:lnTo>
                <a:cubicBezTo>
                  <a:pt x="11052" y="806"/>
                  <a:pt x="11040" y="818"/>
                  <a:pt x="11028" y="829"/>
                </a:cubicBezTo>
                <a:lnTo>
                  <a:pt x="11028" y="829"/>
                </a:lnTo>
                <a:cubicBezTo>
                  <a:pt x="11026" y="831"/>
                  <a:pt x="11025" y="832"/>
                  <a:pt x="11023" y="834"/>
                </a:cubicBezTo>
                <a:lnTo>
                  <a:pt x="11023" y="834"/>
                </a:lnTo>
                <a:cubicBezTo>
                  <a:pt x="11012" y="845"/>
                  <a:pt x="11000" y="855"/>
                  <a:pt x="10989" y="865"/>
                </a:cubicBezTo>
                <a:lnTo>
                  <a:pt x="10989" y="865"/>
                </a:lnTo>
                <a:cubicBezTo>
                  <a:pt x="10986" y="867"/>
                  <a:pt x="10984" y="870"/>
                  <a:pt x="10982" y="872"/>
                </a:cubicBezTo>
                <a:lnTo>
                  <a:pt x="10982" y="872"/>
                </a:lnTo>
                <a:cubicBezTo>
                  <a:pt x="10969" y="883"/>
                  <a:pt x="10955" y="894"/>
                  <a:pt x="10943" y="905"/>
                </a:cubicBezTo>
                <a:lnTo>
                  <a:pt x="10943" y="905"/>
                </a:lnTo>
                <a:cubicBezTo>
                  <a:pt x="10940" y="907"/>
                  <a:pt x="10937" y="910"/>
                  <a:pt x="10935" y="912"/>
                </a:cubicBezTo>
                <a:lnTo>
                  <a:pt x="10935" y="912"/>
                </a:lnTo>
                <a:cubicBezTo>
                  <a:pt x="10923" y="922"/>
                  <a:pt x="10910" y="932"/>
                  <a:pt x="10898" y="942"/>
                </a:cubicBezTo>
                <a:lnTo>
                  <a:pt x="10898" y="942"/>
                </a:lnTo>
                <a:cubicBezTo>
                  <a:pt x="10896" y="944"/>
                  <a:pt x="10894" y="945"/>
                  <a:pt x="10892" y="947"/>
                </a:cubicBezTo>
                <a:lnTo>
                  <a:pt x="10892" y="947"/>
                </a:lnTo>
                <a:cubicBezTo>
                  <a:pt x="10878" y="959"/>
                  <a:pt x="10862" y="971"/>
                  <a:pt x="10846" y="982"/>
                </a:cubicBezTo>
                <a:lnTo>
                  <a:pt x="10846" y="982"/>
                </a:lnTo>
                <a:cubicBezTo>
                  <a:pt x="10843" y="985"/>
                  <a:pt x="10841" y="987"/>
                  <a:pt x="10838" y="989"/>
                </a:cubicBezTo>
                <a:lnTo>
                  <a:pt x="10838" y="989"/>
                </a:lnTo>
                <a:cubicBezTo>
                  <a:pt x="10822" y="1001"/>
                  <a:pt x="10806" y="1013"/>
                  <a:pt x="10790" y="1025"/>
                </a:cubicBezTo>
                <a:lnTo>
                  <a:pt x="10790" y="1025"/>
                </a:lnTo>
                <a:cubicBezTo>
                  <a:pt x="10788" y="1027"/>
                  <a:pt x="10785" y="1028"/>
                  <a:pt x="10782" y="1031"/>
                </a:cubicBezTo>
                <a:lnTo>
                  <a:pt x="10782" y="1031"/>
                </a:lnTo>
                <a:cubicBezTo>
                  <a:pt x="10766" y="1042"/>
                  <a:pt x="10749" y="1054"/>
                  <a:pt x="10732" y="1066"/>
                </a:cubicBezTo>
                <a:lnTo>
                  <a:pt x="10732" y="1066"/>
                </a:lnTo>
                <a:lnTo>
                  <a:pt x="10731" y="1067"/>
                </a:lnTo>
                <a:lnTo>
                  <a:pt x="10731" y="1067"/>
                </a:lnTo>
                <a:cubicBezTo>
                  <a:pt x="10714" y="1079"/>
                  <a:pt x="10696" y="1090"/>
                  <a:pt x="10678" y="1102"/>
                </a:cubicBezTo>
                <a:lnTo>
                  <a:pt x="10678" y="1102"/>
                </a:lnTo>
                <a:cubicBezTo>
                  <a:pt x="10675" y="1104"/>
                  <a:pt x="10672" y="1106"/>
                  <a:pt x="10669" y="1108"/>
                </a:cubicBezTo>
                <a:lnTo>
                  <a:pt x="10669" y="1108"/>
                </a:lnTo>
                <a:cubicBezTo>
                  <a:pt x="10648" y="1122"/>
                  <a:pt x="10628" y="1134"/>
                  <a:pt x="10607" y="1148"/>
                </a:cubicBezTo>
                <a:lnTo>
                  <a:pt x="10607" y="1148"/>
                </a:lnTo>
                <a:cubicBezTo>
                  <a:pt x="10604" y="1149"/>
                  <a:pt x="10601" y="1152"/>
                  <a:pt x="10598" y="1153"/>
                </a:cubicBezTo>
                <a:lnTo>
                  <a:pt x="10598" y="1153"/>
                </a:lnTo>
                <a:cubicBezTo>
                  <a:pt x="10577" y="1166"/>
                  <a:pt x="10556" y="1179"/>
                  <a:pt x="10535" y="1192"/>
                </a:cubicBezTo>
                <a:lnTo>
                  <a:pt x="10535" y="1192"/>
                </a:lnTo>
                <a:cubicBezTo>
                  <a:pt x="10531" y="1194"/>
                  <a:pt x="10529" y="1196"/>
                  <a:pt x="10526" y="1197"/>
                </a:cubicBezTo>
                <a:lnTo>
                  <a:pt x="10526" y="1197"/>
                </a:lnTo>
                <a:cubicBezTo>
                  <a:pt x="10504" y="1210"/>
                  <a:pt x="10482" y="1223"/>
                  <a:pt x="10460" y="1235"/>
                </a:cubicBezTo>
                <a:lnTo>
                  <a:pt x="10460" y="1235"/>
                </a:lnTo>
                <a:cubicBezTo>
                  <a:pt x="10456" y="1237"/>
                  <a:pt x="10453" y="1239"/>
                  <a:pt x="10450" y="1241"/>
                </a:cubicBezTo>
                <a:lnTo>
                  <a:pt x="10450" y="1241"/>
                </a:lnTo>
                <a:cubicBezTo>
                  <a:pt x="10428" y="1253"/>
                  <a:pt x="10405" y="1266"/>
                  <a:pt x="10382" y="1279"/>
                </a:cubicBezTo>
                <a:lnTo>
                  <a:pt x="10382" y="1279"/>
                </a:lnTo>
                <a:cubicBezTo>
                  <a:pt x="10378" y="1281"/>
                  <a:pt x="10373" y="1283"/>
                  <a:pt x="10369" y="1285"/>
                </a:cubicBezTo>
                <a:lnTo>
                  <a:pt x="10369" y="1285"/>
                </a:lnTo>
                <a:cubicBezTo>
                  <a:pt x="10358" y="1291"/>
                  <a:pt x="10346" y="1297"/>
                  <a:pt x="10335" y="1303"/>
                </a:cubicBezTo>
                <a:lnTo>
                  <a:pt x="10335" y="1303"/>
                </a:lnTo>
                <a:cubicBezTo>
                  <a:pt x="10331" y="1305"/>
                  <a:pt x="10326" y="1308"/>
                  <a:pt x="10322" y="1310"/>
                </a:cubicBezTo>
                <a:lnTo>
                  <a:pt x="10322" y="1310"/>
                </a:lnTo>
                <a:cubicBezTo>
                  <a:pt x="10306" y="1318"/>
                  <a:pt x="10290" y="1326"/>
                  <a:pt x="10274" y="1334"/>
                </a:cubicBezTo>
                <a:lnTo>
                  <a:pt x="10274" y="1334"/>
                </a:lnTo>
                <a:cubicBezTo>
                  <a:pt x="10271" y="1336"/>
                  <a:pt x="10268" y="1337"/>
                  <a:pt x="10264" y="1339"/>
                </a:cubicBezTo>
                <a:lnTo>
                  <a:pt x="10264" y="1339"/>
                </a:lnTo>
                <a:cubicBezTo>
                  <a:pt x="10252" y="1345"/>
                  <a:pt x="10238" y="1352"/>
                  <a:pt x="10225" y="1358"/>
                </a:cubicBezTo>
                <a:lnTo>
                  <a:pt x="10225" y="1358"/>
                </a:lnTo>
                <a:cubicBezTo>
                  <a:pt x="10220" y="1361"/>
                  <a:pt x="10214" y="1364"/>
                  <a:pt x="10209" y="1366"/>
                </a:cubicBezTo>
                <a:lnTo>
                  <a:pt x="10209" y="1366"/>
                </a:lnTo>
                <a:cubicBezTo>
                  <a:pt x="10197" y="1372"/>
                  <a:pt x="10186" y="1378"/>
                  <a:pt x="10174" y="1383"/>
                </a:cubicBezTo>
                <a:lnTo>
                  <a:pt x="10174" y="1383"/>
                </a:lnTo>
                <a:cubicBezTo>
                  <a:pt x="10169" y="1385"/>
                  <a:pt x="10163" y="1388"/>
                  <a:pt x="10157" y="1391"/>
                </a:cubicBezTo>
                <a:lnTo>
                  <a:pt x="10157" y="1391"/>
                </a:lnTo>
                <a:cubicBezTo>
                  <a:pt x="10144" y="1397"/>
                  <a:pt x="10132" y="1403"/>
                  <a:pt x="10118" y="1409"/>
                </a:cubicBezTo>
                <a:lnTo>
                  <a:pt x="10118" y="1409"/>
                </a:lnTo>
                <a:cubicBezTo>
                  <a:pt x="10114" y="1411"/>
                  <a:pt x="10111" y="1413"/>
                  <a:pt x="10107" y="1415"/>
                </a:cubicBezTo>
                <a:lnTo>
                  <a:pt x="10107" y="1415"/>
                </a:lnTo>
                <a:cubicBezTo>
                  <a:pt x="10090" y="1422"/>
                  <a:pt x="10073" y="1430"/>
                  <a:pt x="10055" y="1438"/>
                </a:cubicBezTo>
                <a:lnTo>
                  <a:pt x="10055" y="1438"/>
                </a:lnTo>
                <a:cubicBezTo>
                  <a:pt x="10051" y="1440"/>
                  <a:pt x="10046" y="1442"/>
                  <a:pt x="10042" y="1444"/>
                </a:cubicBezTo>
                <a:lnTo>
                  <a:pt x="10042" y="1444"/>
                </a:lnTo>
                <a:cubicBezTo>
                  <a:pt x="10029" y="1449"/>
                  <a:pt x="10016" y="1455"/>
                  <a:pt x="10003" y="1461"/>
                </a:cubicBezTo>
                <a:lnTo>
                  <a:pt x="10003" y="1461"/>
                </a:lnTo>
                <a:cubicBezTo>
                  <a:pt x="9997" y="1464"/>
                  <a:pt x="9991" y="1466"/>
                  <a:pt x="9985" y="1469"/>
                </a:cubicBezTo>
                <a:lnTo>
                  <a:pt x="9985" y="1469"/>
                </a:lnTo>
                <a:cubicBezTo>
                  <a:pt x="9972" y="1474"/>
                  <a:pt x="9960" y="1479"/>
                  <a:pt x="9947" y="1485"/>
                </a:cubicBezTo>
                <a:lnTo>
                  <a:pt x="9947" y="1485"/>
                </a:lnTo>
                <a:cubicBezTo>
                  <a:pt x="9942" y="1487"/>
                  <a:pt x="9937" y="1489"/>
                  <a:pt x="9931" y="1492"/>
                </a:cubicBezTo>
                <a:lnTo>
                  <a:pt x="9931" y="1492"/>
                </a:lnTo>
                <a:cubicBezTo>
                  <a:pt x="9912" y="1500"/>
                  <a:pt x="9892" y="1507"/>
                  <a:pt x="9873" y="1515"/>
                </a:cubicBezTo>
                <a:lnTo>
                  <a:pt x="9873" y="1515"/>
                </a:lnTo>
                <a:cubicBezTo>
                  <a:pt x="9871" y="1516"/>
                  <a:pt x="9869" y="1517"/>
                  <a:pt x="9867" y="1517"/>
                </a:cubicBezTo>
                <a:lnTo>
                  <a:pt x="9867" y="1517"/>
                </a:lnTo>
                <a:cubicBezTo>
                  <a:pt x="9850" y="1525"/>
                  <a:pt x="9832" y="1532"/>
                  <a:pt x="9814" y="1539"/>
                </a:cubicBezTo>
                <a:lnTo>
                  <a:pt x="9814" y="1539"/>
                </a:lnTo>
                <a:cubicBezTo>
                  <a:pt x="9809" y="1541"/>
                  <a:pt x="9803" y="1543"/>
                  <a:pt x="9797" y="1546"/>
                </a:cubicBezTo>
                <a:lnTo>
                  <a:pt x="9797" y="1546"/>
                </a:lnTo>
                <a:cubicBezTo>
                  <a:pt x="9781" y="1552"/>
                  <a:pt x="9766" y="1558"/>
                  <a:pt x="9749" y="1564"/>
                </a:cubicBezTo>
                <a:lnTo>
                  <a:pt x="9749" y="1564"/>
                </a:lnTo>
                <a:cubicBezTo>
                  <a:pt x="9745" y="1566"/>
                  <a:pt x="9740" y="1567"/>
                  <a:pt x="9736" y="1569"/>
                </a:cubicBezTo>
                <a:lnTo>
                  <a:pt x="9736" y="1569"/>
                </a:lnTo>
                <a:cubicBezTo>
                  <a:pt x="9716" y="1577"/>
                  <a:pt x="9696" y="1585"/>
                  <a:pt x="9676" y="1592"/>
                </a:cubicBezTo>
                <a:lnTo>
                  <a:pt x="9676" y="1592"/>
                </a:lnTo>
                <a:cubicBezTo>
                  <a:pt x="9671" y="1593"/>
                  <a:pt x="9667" y="1595"/>
                  <a:pt x="9662" y="1597"/>
                </a:cubicBezTo>
                <a:lnTo>
                  <a:pt x="9662" y="1597"/>
                </a:lnTo>
                <a:cubicBezTo>
                  <a:pt x="9646" y="1603"/>
                  <a:pt x="9629" y="1608"/>
                  <a:pt x="9613" y="1615"/>
                </a:cubicBezTo>
                <a:lnTo>
                  <a:pt x="9613" y="1615"/>
                </a:lnTo>
                <a:cubicBezTo>
                  <a:pt x="9607" y="1617"/>
                  <a:pt x="9601" y="1619"/>
                  <a:pt x="9595" y="1621"/>
                </a:cubicBezTo>
                <a:lnTo>
                  <a:pt x="9595" y="1621"/>
                </a:lnTo>
                <a:cubicBezTo>
                  <a:pt x="9577" y="1628"/>
                  <a:pt x="9558" y="1635"/>
                  <a:pt x="9540" y="1641"/>
                </a:cubicBezTo>
                <a:lnTo>
                  <a:pt x="9540" y="1641"/>
                </a:lnTo>
                <a:cubicBezTo>
                  <a:pt x="9537" y="1641"/>
                  <a:pt x="9534" y="1643"/>
                  <a:pt x="9532" y="1643"/>
                </a:cubicBezTo>
                <a:lnTo>
                  <a:pt x="9532" y="1643"/>
                </a:lnTo>
                <a:cubicBezTo>
                  <a:pt x="9511" y="1650"/>
                  <a:pt x="9490" y="1658"/>
                  <a:pt x="9468" y="1665"/>
                </a:cubicBezTo>
                <a:lnTo>
                  <a:pt x="9468" y="1665"/>
                </a:lnTo>
                <a:cubicBezTo>
                  <a:pt x="9463" y="1667"/>
                  <a:pt x="9457" y="1668"/>
                  <a:pt x="9452" y="1671"/>
                </a:cubicBezTo>
                <a:lnTo>
                  <a:pt x="9452" y="1671"/>
                </a:lnTo>
                <a:cubicBezTo>
                  <a:pt x="9435" y="1676"/>
                  <a:pt x="9419" y="1681"/>
                  <a:pt x="9402" y="1687"/>
                </a:cubicBezTo>
                <a:lnTo>
                  <a:pt x="9402" y="1687"/>
                </a:lnTo>
                <a:cubicBezTo>
                  <a:pt x="9396" y="1689"/>
                  <a:pt x="9391" y="1691"/>
                  <a:pt x="9384" y="1693"/>
                </a:cubicBezTo>
                <a:lnTo>
                  <a:pt x="9384" y="1693"/>
                </a:lnTo>
                <a:cubicBezTo>
                  <a:pt x="9363" y="1699"/>
                  <a:pt x="9341" y="1707"/>
                  <a:pt x="9319" y="1714"/>
                </a:cubicBezTo>
                <a:lnTo>
                  <a:pt x="9319" y="1714"/>
                </a:lnTo>
                <a:cubicBezTo>
                  <a:pt x="9317" y="1714"/>
                  <a:pt x="9315" y="1715"/>
                  <a:pt x="9313" y="1716"/>
                </a:cubicBezTo>
                <a:lnTo>
                  <a:pt x="9313" y="1716"/>
                </a:lnTo>
                <a:cubicBezTo>
                  <a:pt x="9293" y="1722"/>
                  <a:pt x="9273" y="1728"/>
                  <a:pt x="9252" y="1734"/>
                </a:cubicBezTo>
                <a:lnTo>
                  <a:pt x="9252" y="1734"/>
                </a:lnTo>
                <a:cubicBezTo>
                  <a:pt x="9246" y="1736"/>
                  <a:pt x="9240" y="1738"/>
                  <a:pt x="9233" y="1740"/>
                </a:cubicBezTo>
                <a:lnTo>
                  <a:pt x="9233" y="1740"/>
                </a:lnTo>
                <a:cubicBezTo>
                  <a:pt x="9216" y="1746"/>
                  <a:pt x="9198" y="1751"/>
                  <a:pt x="9180" y="1756"/>
                </a:cubicBezTo>
                <a:lnTo>
                  <a:pt x="9180" y="1756"/>
                </a:lnTo>
                <a:cubicBezTo>
                  <a:pt x="9175" y="1757"/>
                  <a:pt x="9170" y="1759"/>
                  <a:pt x="9165" y="1760"/>
                </a:cubicBezTo>
                <a:lnTo>
                  <a:pt x="9165" y="1760"/>
                </a:lnTo>
                <a:cubicBezTo>
                  <a:pt x="9142" y="1767"/>
                  <a:pt x="9120" y="1774"/>
                  <a:pt x="9097" y="1780"/>
                </a:cubicBezTo>
                <a:lnTo>
                  <a:pt x="9097" y="1780"/>
                </a:lnTo>
                <a:cubicBezTo>
                  <a:pt x="9092" y="1781"/>
                  <a:pt x="9088" y="1782"/>
                  <a:pt x="9083" y="1784"/>
                </a:cubicBezTo>
                <a:lnTo>
                  <a:pt x="9083" y="1784"/>
                </a:lnTo>
                <a:cubicBezTo>
                  <a:pt x="9064" y="1789"/>
                  <a:pt x="9046" y="1795"/>
                  <a:pt x="9028" y="1799"/>
                </a:cubicBezTo>
                <a:lnTo>
                  <a:pt x="9028" y="1799"/>
                </a:lnTo>
                <a:cubicBezTo>
                  <a:pt x="9021" y="1801"/>
                  <a:pt x="9014" y="1803"/>
                  <a:pt x="9008" y="1805"/>
                </a:cubicBezTo>
                <a:lnTo>
                  <a:pt x="9008" y="1805"/>
                </a:lnTo>
                <a:cubicBezTo>
                  <a:pt x="8988" y="1811"/>
                  <a:pt x="8967" y="1816"/>
                  <a:pt x="8946" y="1822"/>
                </a:cubicBezTo>
                <a:lnTo>
                  <a:pt x="8946" y="1822"/>
                </a:lnTo>
                <a:cubicBezTo>
                  <a:pt x="8943" y="1822"/>
                  <a:pt x="8940" y="1823"/>
                  <a:pt x="8938" y="1824"/>
                </a:cubicBezTo>
                <a:lnTo>
                  <a:pt x="8938" y="1824"/>
                </a:lnTo>
                <a:cubicBezTo>
                  <a:pt x="8914" y="1830"/>
                  <a:pt x="8890" y="1837"/>
                  <a:pt x="8867" y="1842"/>
                </a:cubicBezTo>
                <a:lnTo>
                  <a:pt x="8867" y="1842"/>
                </a:lnTo>
                <a:cubicBezTo>
                  <a:pt x="8861" y="1844"/>
                  <a:pt x="8855" y="1846"/>
                  <a:pt x="8848" y="1847"/>
                </a:cubicBezTo>
                <a:lnTo>
                  <a:pt x="8848" y="1847"/>
                </a:lnTo>
                <a:cubicBezTo>
                  <a:pt x="8830" y="1852"/>
                  <a:pt x="8812" y="1856"/>
                  <a:pt x="8793" y="1861"/>
                </a:cubicBezTo>
                <a:lnTo>
                  <a:pt x="8793" y="1861"/>
                </a:lnTo>
                <a:cubicBezTo>
                  <a:pt x="8787" y="1863"/>
                  <a:pt x="8780" y="1865"/>
                  <a:pt x="8774" y="1866"/>
                </a:cubicBezTo>
                <a:lnTo>
                  <a:pt x="8774" y="1866"/>
                </a:lnTo>
                <a:cubicBezTo>
                  <a:pt x="8750" y="1872"/>
                  <a:pt x="8726" y="1878"/>
                  <a:pt x="8702" y="1883"/>
                </a:cubicBezTo>
                <a:lnTo>
                  <a:pt x="8702" y="1883"/>
                </a:lnTo>
                <a:cubicBezTo>
                  <a:pt x="8700" y="1884"/>
                  <a:pt x="8698" y="1885"/>
                  <a:pt x="8697" y="1885"/>
                </a:cubicBezTo>
                <a:lnTo>
                  <a:pt x="8697" y="1885"/>
                </a:lnTo>
                <a:cubicBezTo>
                  <a:pt x="8674" y="1890"/>
                  <a:pt x="8652" y="1896"/>
                  <a:pt x="8629" y="1901"/>
                </a:cubicBezTo>
                <a:lnTo>
                  <a:pt x="8629" y="1901"/>
                </a:lnTo>
                <a:cubicBezTo>
                  <a:pt x="8622" y="1902"/>
                  <a:pt x="8615" y="1904"/>
                  <a:pt x="8608" y="1906"/>
                </a:cubicBezTo>
                <a:lnTo>
                  <a:pt x="8608" y="1906"/>
                </a:lnTo>
                <a:cubicBezTo>
                  <a:pt x="8589" y="1910"/>
                  <a:pt x="8570" y="1914"/>
                  <a:pt x="8551" y="1919"/>
                </a:cubicBezTo>
                <a:lnTo>
                  <a:pt x="8551" y="1919"/>
                </a:lnTo>
                <a:cubicBezTo>
                  <a:pt x="8545" y="1920"/>
                  <a:pt x="8539" y="1922"/>
                  <a:pt x="8533" y="1923"/>
                </a:cubicBezTo>
                <a:lnTo>
                  <a:pt x="8533" y="1923"/>
                </a:lnTo>
                <a:cubicBezTo>
                  <a:pt x="8508" y="1928"/>
                  <a:pt x="8484" y="1933"/>
                  <a:pt x="8459" y="1939"/>
                </a:cubicBezTo>
                <a:lnTo>
                  <a:pt x="8459" y="1939"/>
                </a:lnTo>
                <a:cubicBezTo>
                  <a:pt x="8454" y="1940"/>
                  <a:pt x="8448" y="1941"/>
                  <a:pt x="8444" y="1942"/>
                </a:cubicBezTo>
                <a:lnTo>
                  <a:pt x="8444" y="1942"/>
                </a:lnTo>
                <a:cubicBezTo>
                  <a:pt x="8423" y="1946"/>
                  <a:pt x="8403" y="1950"/>
                  <a:pt x="8383" y="1955"/>
                </a:cubicBezTo>
                <a:lnTo>
                  <a:pt x="8383" y="1955"/>
                </a:lnTo>
                <a:cubicBezTo>
                  <a:pt x="8375" y="1956"/>
                  <a:pt x="8369" y="1958"/>
                  <a:pt x="8361" y="1960"/>
                </a:cubicBezTo>
                <a:lnTo>
                  <a:pt x="8361" y="1960"/>
                </a:lnTo>
                <a:cubicBezTo>
                  <a:pt x="8340" y="1964"/>
                  <a:pt x="8318" y="1968"/>
                  <a:pt x="8297" y="1973"/>
                </a:cubicBezTo>
                <a:lnTo>
                  <a:pt x="8297" y="1973"/>
                </a:lnTo>
                <a:cubicBezTo>
                  <a:pt x="8293" y="1973"/>
                  <a:pt x="8289" y="1974"/>
                  <a:pt x="8284" y="1975"/>
                </a:cubicBezTo>
                <a:lnTo>
                  <a:pt x="8284" y="1975"/>
                </a:lnTo>
                <a:cubicBezTo>
                  <a:pt x="8259" y="1980"/>
                  <a:pt x="8234" y="1985"/>
                  <a:pt x="8209" y="1990"/>
                </a:cubicBezTo>
                <a:lnTo>
                  <a:pt x="8209" y="1990"/>
                </a:lnTo>
                <a:cubicBezTo>
                  <a:pt x="8202" y="1991"/>
                  <a:pt x="8195" y="1993"/>
                  <a:pt x="8188" y="1994"/>
                </a:cubicBezTo>
                <a:lnTo>
                  <a:pt x="8188" y="1994"/>
                </a:lnTo>
                <a:cubicBezTo>
                  <a:pt x="8169" y="1997"/>
                  <a:pt x="8149" y="2001"/>
                  <a:pt x="8129" y="2004"/>
                </a:cubicBezTo>
                <a:lnTo>
                  <a:pt x="8129" y="2004"/>
                </a:lnTo>
                <a:cubicBezTo>
                  <a:pt x="8122" y="2006"/>
                  <a:pt x="8115" y="2007"/>
                  <a:pt x="8107" y="2009"/>
                </a:cubicBezTo>
                <a:lnTo>
                  <a:pt x="8107" y="2009"/>
                </a:lnTo>
                <a:cubicBezTo>
                  <a:pt x="8081" y="2013"/>
                  <a:pt x="8056" y="2018"/>
                  <a:pt x="8029" y="2023"/>
                </a:cubicBezTo>
                <a:lnTo>
                  <a:pt x="8029" y="2023"/>
                </a:lnTo>
                <a:cubicBezTo>
                  <a:pt x="8028" y="2023"/>
                  <a:pt x="8027" y="2023"/>
                  <a:pt x="8025" y="2024"/>
                </a:cubicBezTo>
                <a:lnTo>
                  <a:pt x="8025" y="2024"/>
                </a:lnTo>
                <a:cubicBezTo>
                  <a:pt x="8001" y="2028"/>
                  <a:pt x="7976" y="2032"/>
                  <a:pt x="7951" y="2036"/>
                </a:cubicBezTo>
                <a:lnTo>
                  <a:pt x="7951" y="2036"/>
                </a:lnTo>
                <a:cubicBezTo>
                  <a:pt x="7944" y="2037"/>
                  <a:pt x="7936" y="2039"/>
                  <a:pt x="7928" y="2040"/>
                </a:cubicBezTo>
                <a:lnTo>
                  <a:pt x="7928" y="2040"/>
                </a:lnTo>
                <a:cubicBezTo>
                  <a:pt x="7908" y="2044"/>
                  <a:pt x="7888" y="2047"/>
                  <a:pt x="7867" y="2050"/>
                </a:cubicBezTo>
                <a:lnTo>
                  <a:pt x="7867" y="2050"/>
                </a:lnTo>
                <a:cubicBezTo>
                  <a:pt x="7861" y="2051"/>
                  <a:pt x="7854" y="2052"/>
                  <a:pt x="7847" y="2053"/>
                </a:cubicBezTo>
                <a:lnTo>
                  <a:pt x="7847" y="2053"/>
                </a:lnTo>
                <a:cubicBezTo>
                  <a:pt x="7821" y="2058"/>
                  <a:pt x="7795" y="2062"/>
                  <a:pt x="7769" y="2065"/>
                </a:cubicBezTo>
                <a:lnTo>
                  <a:pt x="7769" y="2065"/>
                </a:lnTo>
                <a:cubicBezTo>
                  <a:pt x="7763" y="2067"/>
                  <a:pt x="7757" y="2067"/>
                  <a:pt x="7752" y="2068"/>
                </a:cubicBezTo>
                <a:lnTo>
                  <a:pt x="7752" y="2068"/>
                </a:lnTo>
                <a:cubicBezTo>
                  <a:pt x="7730" y="2071"/>
                  <a:pt x="7709" y="2075"/>
                  <a:pt x="7688" y="2078"/>
                </a:cubicBezTo>
                <a:lnTo>
                  <a:pt x="7688" y="2078"/>
                </a:lnTo>
                <a:cubicBezTo>
                  <a:pt x="7680" y="2079"/>
                  <a:pt x="7671" y="2080"/>
                  <a:pt x="7663" y="2081"/>
                </a:cubicBezTo>
                <a:lnTo>
                  <a:pt x="7663" y="2081"/>
                </a:lnTo>
                <a:cubicBezTo>
                  <a:pt x="7641" y="2085"/>
                  <a:pt x="7619" y="2088"/>
                  <a:pt x="7597" y="2091"/>
                </a:cubicBezTo>
                <a:lnTo>
                  <a:pt x="7597" y="2091"/>
                </a:lnTo>
                <a:cubicBezTo>
                  <a:pt x="7591" y="2092"/>
                  <a:pt x="7587" y="2093"/>
                  <a:pt x="7581" y="2093"/>
                </a:cubicBezTo>
                <a:lnTo>
                  <a:pt x="7581" y="2093"/>
                </a:lnTo>
                <a:cubicBezTo>
                  <a:pt x="7555" y="2097"/>
                  <a:pt x="7528" y="2101"/>
                  <a:pt x="7502" y="2104"/>
                </a:cubicBezTo>
                <a:lnTo>
                  <a:pt x="7502" y="2104"/>
                </a:lnTo>
                <a:cubicBezTo>
                  <a:pt x="7494" y="2105"/>
                  <a:pt x="7486" y="2106"/>
                  <a:pt x="7478" y="2107"/>
                </a:cubicBezTo>
                <a:lnTo>
                  <a:pt x="7478" y="2107"/>
                </a:lnTo>
                <a:cubicBezTo>
                  <a:pt x="7458" y="2110"/>
                  <a:pt x="7438" y="2112"/>
                  <a:pt x="7418" y="2115"/>
                </a:cubicBezTo>
                <a:lnTo>
                  <a:pt x="7418" y="2115"/>
                </a:lnTo>
                <a:cubicBezTo>
                  <a:pt x="7410" y="2116"/>
                  <a:pt x="7403" y="2116"/>
                  <a:pt x="7396" y="2118"/>
                </a:cubicBezTo>
                <a:lnTo>
                  <a:pt x="7396" y="2118"/>
                </a:lnTo>
                <a:cubicBezTo>
                  <a:pt x="7345" y="2124"/>
                  <a:pt x="7294" y="2130"/>
                  <a:pt x="7243" y="2136"/>
                </a:cubicBezTo>
                <a:lnTo>
                  <a:pt x="7243" y="2136"/>
                </a:lnTo>
                <a:lnTo>
                  <a:pt x="7242" y="2136"/>
                </a:lnTo>
                <a:lnTo>
                  <a:pt x="7242" y="2136"/>
                </a:lnTo>
                <a:cubicBezTo>
                  <a:pt x="7191" y="2142"/>
                  <a:pt x="7139" y="2147"/>
                  <a:pt x="7087" y="2152"/>
                </a:cubicBezTo>
                <a:lnTo>
                  <a:pt x="7087" y="2152"/>
                </a:lnTo>
                <a:cubicBezTo>
                  <a:pt x="7083" y="2153"/>
                  <a:pt x="7078" y="2154"/>
                  <a:pt x="7074" y="2154"/>
                </a:cubicBezTo>
                <a:lnTo>
                  <a:pt x="7074" y="2154"/>
                </a:lnTo>
                <a:cubicBezTo>
                  <a:pt x="7024" y="2159"/>
                  <a:pt x="6975" y="2164"/>
                  <a:pt x="6925" y="2168"/>
                </a:cubicBezTo>
                <a:lnTo>
                  <a:pt x="6925" y="2168"/>
                </a:lnTo>
                <a:cubicBezTo>
                  <a:pt x="6921" y="2169"/>
                  <a:pt x="6917" y="2169"/>
                  <a:pt x="6913" y="2169"/>
                </a:cubicBezTo>
                <a:lnTo>
                  <a:pt x="6913" y="2169"/>
                </a:lnTo>
                <a:cubicBezTo>
                  <a:pt x="6861" y="2174"/>
                  <a:pt x="6809" y="2178"/>
                  <a:pt x="6756" y="2182"/>
                </a:cubicBezTo>
                <a:lnTo>
                  <a:pt x="6756" y="2182"/>
                </a:lnTo>
                <a:cubicBezTo>
                  <a:pt x="6752" y="2183"/>
                  <a:pt x="6749" y="2183"/>
                  <a:pt x="6744" y="2184"/>
                </a:cubicBezTo>
                <a:lnTo>
                  <a:pt x="6744" y="2184"/>
                </a:lnTo>
                <a:cubicBezTo>
                  <a:pt x="6706" y="2186"/>
                  <a:pt x="6666" y="2189"/>
                  <a:pt x="6627" y="2192"/>
                </a:cubicBezTo>
                <a:lnTo>
                  <a:pt x="6627" y="2192"/>
                </a:lnTo>
                <a:cubicBezTo>
                  <a:pt x="6626" y="2192"/>
                  <a:pt x="6625" y="2192"/>
                  <a:pt x="6624" y="2192"/>
                </a:cubicBezTo>
                <a:lnTo>
                  <a:pt x="6624" y="2192"/>
                </a:lnTo>
                <a:cubicBezTo>
                  <a:pt x="6584" y="2195"/>
                  <a:pt x="6544" y="2198"/>
                  <a:pt x="6504" y="2200"/>
                </a:cubicBezTo>
                <a:lnTo>
                  <a:pt x="6504" y="2200"/>
                </a:lnTo>
                <a:cubicBezTo>
                  <a:pt x="6500" y="2201"/>
                  <a:pt x="6496" y="2201"/>
                  <a:pt x="6492" y="2201"/>
                </a:cubicBezTo>
                <a:lnTo>
                  <a:pt x="6492" y="2201"/>
                </a:lnTo>
                <a:cubicBezTo>
                  <a:pt x="6453" y="2204"/>
                  <a:pt x="6415" y="2205"/>
                  <a:pt x="6376" y="2208"/>
                </a:cubicBezTo>
                <a:lnTo>
                  <a:pt x="6376" y="2208"/>
                </a:lnTo>
                <a:cubicBezTo>
                  <a:pt x="6370" y="2208"/>
                  <a:pt x="6365" y="2208"/>
                  <a:pt x="6359" y="2208"/>
                </a:cubicBezTo>
                <a:lnTo>
                  <a:pt x="6359" y="2208"/>
                </a:lnTo>
                <a:cubicBezTo>
                  <a:pt x="6320" y="2211"/>
                  <a:pt x="6282" y="2212"/>
                  <a:pt x="6244" y="2214"/>
                </a:cubicBezTo>
                <a:lnTo>
                  <a:pt x="6244" y="2214"/>
                </a:lnTo>
                <a:cubicBezTo>
                  <a:pt x="6238" y="2214"/>
                  <a:pt x="6232" y="2214"/>
                  <a:pt x="6225" y="2215"/>
                </a:cubicBezTo>
                <a:lnTo>
                  <a:pt x="6225" y="2215"/>
                </a:lnTo>
                <a:cubicBezTo>
                  <a:pt x="6191" y="2216"/>
                  <a:pt x="6155" y="2217"/>
                  <a:pt x="6121" y="2219"/>
                </a:cubicBezTo>
                <a:lnTo>
                  <a:pt x="6121" y="2219"/>
                </a:lnTo>
                <a:cubicBezTo>
                  <a:pt x="6119" y="2219"/>
                  <a:pt x="6117" y="2219"/>
                  <a:pt x="6115" y="2219"/>
                </a:cubicBezTo>
                <a:lnTo>
                  <a:pt x="6115" y="2219"/>
                </a:lnTo>
                <a:cubicBezTo>
                  <a:pt x="6082" y="2220"/>
                  <a:pt x="6047" y="2221"/>
                  <a:pt x="6013" y="2222"/>
                </a:cubicBezTo>
                <a:lnTo>
                  <a:pt x="6013" y="2222"/>
                </a:lnTo>
                <a:cubicBezTo>
                  <a:pt x="6007" y="2222"/>
                  <a:pt x="6002" y="2222"/>
                  <a:pt x="5995" y="2223"/>
                </a:cubicBezTo>
                <a:lnTo>
                  <a:pt x="5995" y="2223"/>
                </a:lnTo>
                <a:cubicBezTo>
                  <a:pt x="5961" y="2224"/>
                  <a:pt x="5926" y="2225"/>
                  <a:pt x="5891" y="2225"/>
                </a:cubicBezTo>
                <a:lnTo>
                  <a:pt x="5891" y="2225"/>
                </a:lnTo>
                <a:cubicBezTo>
                  <a:pt x="5885" y="2225"/>
                  <a:pt x="5880" y="2225"/>
                  <a:pt x="5874" y="2225"/>
                </a:cubicBezTo>
                <a:lnTo>
                  <a:pt x="5874" y="2225"/>
                </a:lnTo>
                <a:cubicBezTo>
                  <a:pt x="5839" y="2226"/>
                  <a:pt x="5804" y="2226"/>
                  <a:pt x="5768" y="2227"/>
                </a:cubicBezTo>
                <a:lnTo>
                  <a:pt x="5768" y="2227"/>
                </a:lnTo>
                <a:cubicBezTo>
                  <a:pt x="5767" y="2227"/>
                  <a:pt x="5767" y="2227"/>
                  <a:pt x="5766" y="2227"/>
                </a:cubicBezTo>
                <a:lnTo>
                  <a:pt x="5766" y="2227"/>
                </a:lnTo>
                <a:cubicBezTo>
                  <a:pt x="5707" y="2227"/>
                  <a:pt x="5647" y="2228"/>
                  <a:pt x="5588" y="2228"/>
                </a:cubicBezTo>
                <a:lnTo>
                  <a:pt x="5573" y="2228"/>
                </a:lnTo>
                <a:lnTo>
                  <a:pt x="5573" y="2228"/>
                </a:lnTo>
                <a:cubicBezTo>
                  <a:pt x="5514" y="2228"/>
                  <a:pt x="5454" y="2228"/>
                  <a:pt x="5394" y="2227"/>
                </a:cubicBezTo>
                <a:lnTo>
                  <a:pt x="5394" y="2227"/>
                </a:lnTo>
                <a:cubicBezTo>
                  <a:pt x="5370" y="2227"/>
                  <a:pt x="5346" y="2226"/>
                  <a:pt x="5323" y="2226"/>
                </a:cubicBezTo>
                <a:lnTo>
                  <a:pt x="5323" y="2226"/>
                </a:lnTo>
                <a:cubicBezTo>
                  <a:pt x="5322" y="2226"/>
                  <a:pt x="5320" y="2226"/>
                  <a:pt x="5319" y="2226"/>
                </a:cubicBezTo>
                <a:lnTo>
                  <a:pt x="5319" y="2226"/>
                </a:lnTo>
                <a:cubicBezTo>
                  <a:pt x="5288" y="2225"/>
                  <a:pt x="5257" y="2225"/>
                  <a:pt x="5227" y="2224"/>
                </a:cubicBezTo>
                <a:lnTo>
                  <a:pt x="5227" y="2224"/>
                </a:lnTo>
                <a:cubicBezTo>
                  <a:pt x="5219" y="2224"/>
                  <a:pt x="5212" y="2224"/>
                  <a:pt x="5204" y="2224"/>
                </a:cubicBezTo>
                <a:lnTo>
                  <a:pt x="5204" y="2224"/>
                </a:lnTo>
                <a:cubicBezTo>
                  <a:pt x="5172" y="2223"/>
                  <a:pt x="5141" y="2222"/>
                  <a:pt x="5110" y="2221"/>
                </a:cubicBezTo>
                <a:lnTo>
                  <a:pt x="5110" y="2221"/>
                </a:lnTo>
                <a:cubicBezTo>
                  <a:pt x="5109" y="2221"/>
                  <a:pt x="5108" y="2221"/>
                  <a:pt x="5107" y="2221"/>
                </a:cubicBezTo>
                <a:lnTo>
                  <a:pt x="5107" y="2221"/>
                </a:lnTo>
                <a:cubicBezTo>
                  <a:pt x="5077" y="2220"/>
                  <a:pt x="5046" y="2219"/>
                  <a:pt x="5015" y="2218"/>
                </a:cubicBezTo>
                <a:lnTo>
                  <a:pt x="5015" y="2218"/>
                </a:lnTo>
                <a:cubicBezTo>
                  <a:pt x="5008" y="2217"/>
                  <a:pt x="5001" y="2217"/>
                  <a:pt x="4993" y="2217"/>
                </a:cubicBezTo>
                <a:lnTo>
                  <a:pt x="4993" y="2217"/>
                </a:lnTo>
                <a:cubicBezTo>
                  <a:pt x="4962" y="2216"/>
                  <a:pt x="4931" y="2215"/>
                  <a:pt x="4900" y="2214"/>
                </a:cubicBezTo>
                <a:lnTo>
                  <a:pt x="4900" y="2214"/>
                </a:lnTo>
                <a:cubicBezTo>
                  <a:pt x="4899" y="2214"/>
                  <a:pt x="4899" y="2213"/>
                  <a:pt x="4898" y="2213"/>
                </a:cubicBezTo>
                <a:lnTo>
                  <a:pt x="4898" y="2213"/>
                </a:lnTo>
                <a:cubicBezTo>
                  <a:pt x="4761" y="2207"/>
                  <a:pt x="4627" y="2199"/>
                  <a:pt x="4495" y="2189"/>
                </a:cubicBezTo>
                <a:lnTo>
                  <a:pt x="4495" y="2189"/>
                </a:lnTo>
                <a:cubicBezTo>
                  <a:pt x="4361" y="2179"/>
                  <a:pt x="4228" y="2168"/>
                  <a:pt x="4097" y="2155"/>
                </a:cubicBezTo>
                <a:lnTo>
                  <a:pt x="4097" y="2155"/>
                </a:lnTo>
                <a:lnTo>
                  <a:pt x="4097" y="2155"/>
                </a:lnTo>
                <a:cubicBezTo>
                  <a:pt x="4067" y="2152"/>
                  <a:pt x="4036" y="2148"/>
                  <a:pt x="4006" y="2145"/>
                </a:cubicBezTo>
                <a:lnTo>
                  <a:pt x="4006" y="2145"/>
                </a:lnTo>
                <a:cubicBezTo>
                  <a:pt x="4000" y="2145"/>
                  <a:pt x="3993" y="2144"/>
                  <a:pt x="3988" y="2143"/>
                </a:cubicBezTo>
                <a:lnTo>
                  <a:pt x="3988" y="2143"/>
                </a:lnTo>
                <a:cubicBezTo>
                  <a:pt x="3958" y="2140"/>
                  <a:pt x="3928" y="2136"/>
                  <a:pt x="3898" y="2133"/>
                </a:cubicBezTo>
                <a:lnTo>
                  <a:pt x="3898" y="2133"/>
                </a:lnTo>
                <a:cubicBezTo>
                  <a:pt x="3897" y="2133"/>
                  <a:pt x="3895" y="2132"/>
                  <a:pt x="3894" y="2132"/>
                </a:cubicBezTo>
                <a:lnTo>
                  <a:pt x="3894" y="2132"/>
                </a:lnTo>
                <a:cubicBezTo>
                  <a:pt x="3865" y="2130"/>
                  <a:pt x="3837" y="2126"/>
                  <a:pt x="3809" y="2122"/>
                </a:cubicBezTo>
                <a:lnTo>
                  <a:pt x="3809" y="2122"/>
                </a:lnTo>
                <a:cubicBezTo>
                  <a:pt x="3803" y="2121"/>
                  <a:pt x="3796" y="2121"/>
                  <a:pt x="3789" y="2120"/>
                </a:cubicBezTo>
                <a:lnTo>
                  <a:pt x="3789" y="2120"/>
                </a:lnTo>
                <a:cubicBezTo>
                  <a:pt x="3761" y="2116"/>
                  <a:pt x="3732" y="2112"/>
                  <a:pt x="3704" y="2109"/>
                </a:cubicBezTo>
                <a:lnTo>
                  <a:pt x="3704" y="2109"/>
                </a:lnTo>
                <a:cubicBezTo>
                  <a:pt x="3700" y="2108"/>
                  <a:pt x="3695" y="2108"/>
                  <a:pt x="3691" y="2107"/>
                </a:cubicBezTo>
                <a:lnTo>
                  <a:pt x="3691" y="2107"/>
                </a:lnTo>
                <a:cubicBezTo>
                  <a:pt x="3663" y="2104"/>
                  <a:pt x="3636" y="2100"/>
                  <a:pt x="3608" y="2096"/>
                </a:cubicBezTo>
                <a:lnTo>
                  <a:pt x="3608" y="2096"/>
                </a:lnTo>
                <a:cubicBezTo>
                  <a:pt x="3603" y="2095"/>
                  <a:pt x="3598" y="2094"/>
                  <a:pt x="3593" y="2094"/>
                </a:cubicBezTo>
                <a:lnTo>
                  <a:pt x="3593" y="2094"/>
                </a:lnTo>
                <a:cubicBezTo>
                  <a:pt x="3563" y="2090"/>
                  <a:pt x="3534" y="2085"/>
                  <a:pt x="3504" y="2081"/>
                </a:cubicBezTo>
                <a:lnTo>
                  <a:pt x="3504" y="2081"/>
                </a:lnTo>
                <a:cubicBezTo>
                  <a:pt x="3498" y="2080"/>
                  <a:pt x="3492" y="2079"/>
                  <a:pt x="3486" y="2078"/>
                </a:cubicBezTo>
                <a:lnTo>
                  <a:pt x="3486" y="2078"/>
                </a:lnTo>
                <a:cubicBezTo>
                  <a:pt x="3426" y="2069"/>
                  <a:pt x="3365" y="2060"/>
                  <a:pt x="3306" y="2050"/>
                </a:cubicBezTo>
                <a:lnTo>
                  <a:pt x="3306" y="2050"/>
                </a:lnTo>
                <a:cubicBezTo>
                  <a:pt x="3301" y="2049"/>
                  <a:pt x="3296" y="2048"/>
                  <a:pt x="3291" y="2047"/>
                </a:cubicBezTo>
                <a:lnTo>
                  <a:pt x="3291" y="2047"/>
                </a:lnTo>
                <a:cubicBezTo>
                  <a:pt x="3259" y="2042"/>
                  <a:pt x="3228" y="2036"/>
                  <a:pt x="3197" y="2031"/>
                </a:cubicBezTo>
                <a:lnTo>
                  <a:pt x="3197" y="2031"/>
                </a:lnTo>
                <a:cubicBezTo>
                  <a:pt x="3192" y="2030"/>
                  <a:pt x="3187" y="2029"/>
                  <a:pt x="3182" y="2029"/>
                </a:cubicBezTo>
                <a:lnTo>
                  <a:pt x="3182" y="2029"/>
                </a:lnTo>
                <a:cubicBezTo>
                  <a:pt x="3151" y="2023"/>
                  <a:pt x="3119" y="2017"/>
                  <a:pt x="3088" y="2011"/>
                </a:cubicBezTo>
                <a:lnTo>
                  <a:pt x="3088" y="2011"/>
                </a:lnTo>
                <a:cubicBezTo>
                  <a:pt x="3085" y="2011"/>
                  <a:pt x="3081" y="2010"/>
                  <a:pt x="3078" y="2009"/>
                </a:cubicBezTo>
                <a:lnTo>
                  <a:pt x="3078" y="2009"/>
                </a:lnTo>
                <a:cubicBezTo>
                  <a:pt x="3047" y="2003"/>
                  <a:pt x="3015" y="1997"/>
                  <a:pt x="2983" y="1991"/>
                </a:cubicBezTo>
                <a:lnTo>
                  <a:pt x="2983" y="1991"/>
                </a:lnTo>
                <a:cubicBezTo>
                  <a:pt x="2982" y="1991"/>
                  <a:pt x="2981" y="1991"/>
                  <a:pt x="2980" y="1990"/>
                </a:cubicBezTo>
                <a:lnTo>
                  <a:pt x="2980" y="1990"/>
                </a:lnTo>
                <a:cubicBezTo>
                  <a:pt x="2948" y="1984"/>
                  <a:pt x="2917" y="1978"/>
                  <a:pt x="2886" y="1971"/>
                </a:cubicBezTo>
                <a:lnTo>
                  <a:pt x="2886" y="1971"/>
                </a:lnTo>
                <a:cubicBezTo>
                  <a:pt x="2882" y="1971"/>
                  <a:pt x="2877" y="1970"/>
                  <a:pt x="2873" y="1969"/>
                </a:cubicBezTo>
                <a:lnTo>
                  <a:pt x="2873" y="1969"/>
                </a:lnTo>
                <a:cubicBezTo>
                  <a:pt x="2838" y="1961"/>
                  <a:pt x="2804" y="1954"/>
                  <a:pt x="2770" y="1947"/>
                </a:cubicBezTo>
                <a:lnTo>
                  <a:pt x="2770" y="1947"/>
                </a:lnTo>
                <a:cubicBezTo>
                  <a:pt x="2766" y="1946"/>
                  <a:pt x="2762" y="1945"/>
                  <a:pt x="2758" y="1944"/>
                </a:cubicBezTo>
                <a:lnTo>
                  <a:pt x="2758" y="1944"/>
                </a:lnTo>
                <a:cubicBezTo>
                  <a:pt x="2724" y="1937"/>
                  <a:pt x="2690" y="1929"/>
                  <a:pt x="2656" y="1922"/>
                </a:cubicBezTo>
                <a:lnTo>
                  <a:pt x="2656" y="1922"/>
                </a:lnTo>
                <a:cubicBezTo>
                  <a:pt x="2653" y="1920"/>
                  <a:pt x="2648" y="1920"/>
                  <a:pt x="2645" y="1919"/>
                </a:cubicBezTo>
                <a:lnTo>
                  <a:pt x="2645" y="1919"/>
                </a:lnTo>
                <a:cubicBezTo>
                  <a:pt x="2611" y="1911"/>
                  <a:pt x="2577" y="1903"/>
                  <a:pt x="2544" y="1895"/>
                </a:cubicBezTo>
                <a:lnTo>
                  <a:pt x="2544" y="1895"/>
                </a:lnTo>
                <a:cubicBezTo>
                  <a:pt x="2540" y="1894"/>
                  <a:pt x="2537" y="1893"/>
                  <a:pt x="2534" y="1893"/>
                </a:cubicBezTo>
                <a:lnTo>
                  <a:pt x="2534" y="1893"/>
                </a:lnTo>
                <a:cubicBezTo>
                  <a:pt x="2500" y="1885"/>
                  <a:pt x="2467" y="1876"/>
                  <a:pt x="2433" y="1868"/>
                </a:cubicBezTo>
                <a:lnTo>
                  <a:pt x="2433" y="1868"/>
                </a:lnTo>
                <a:cubicBezTo>
                  <a:pt x="2430" y="1867"/>
                  <a:pt x="2427" y="1866"/>
                  <a:pt x="2423" y="1865"/>
                </a:cubicBezTo>
                <a:lnTo>
                  <a:pt x="2423" y="1865"/>
                </a:lnTo>
                <a:cubicBezTo>
                  <a:pt x="2402" y="1859"/>
                  <a:pt x="2380" y="1853"/>
                  <a:pt x="2358" y="1848"/>
                </a:cubicBezTo>
                <a:lnTo>
                  <a:pt x="2358" y="1848"/>
                </a:lnTo>
                <a:lnTo>
                  <a:pt x="2357" y="1848"/>
                </a:lnTo>
                <a:lnTo>
                  <a:pt x="2357" y="1848"/>
                </a:lnTo>
                <a:cubicBezTo>
                  <a:pt x="2337" y="1842"/>
                  <a:pt x="2316" y="1837"/>
                  <a:pt x="2296" y="1831"/>
                </a:cubicBezTo>
                <a:lnTo>
                  <a:pt x="2296" y="1831"/>
                </a:lnTo>
                <a:cubicBezTo>
                  <a:pt x="2290" y="1829"/>
                  <a:pt x="2284" y="1828"/>
                  <a:pt x="2278" y="1827"/>
                </a:cubicBezTo>
                <a:lnTo>
                  <a:pt x="2278" y="1827"/>
                </a:lnTo>
                <a:cubicBezTo>
                  <a:pt x="2263" y="1822"/>
                  <a:pt x="2247" y="1818"/>
                  <a:pt x="2232" y="1813"/>
                </a:cubicBezTo>
                <a:lnTo>
                  <a:pt x="2232" y="1813"/>
                </a:lnTo>
                <a:cubicBezTo>
                  <a:pt x="2226" y="1812"/>
                  <a:pt x="2220" y="1810"/>
                  <a:pt x="2213" y="1808"/>
                </a:cubicBezTo>
                <a:lnTo>
                  <a:pt x="2213" y="1808"/>
                </a:lnTo>
                <a:cubicBezTo>
                  <a:pt x="2196" y="1803"/>
                  <a:pt x="2177" y="1798"/>
                  <a:pt x="2160" y="1793"/>
                </a:cubicBezTo>
                <a:lnTo>
                  <a:pt x="2160" y="1793"/>
                </a:lnTo>
                <a:cubicBezTo>
                  <a:pt x="2157" y="1792"/>
                  <a:pt x="2155" y="1791"/>
                  <a:pt x="2152" y="1791"/>
                </a:cubicBezTo>
                <a:lnTo>
                  <a:pt x="2152" y="1791"/>
                </a:lnTo>
                <a:cubicBezTo>
                  <a:pt x="2132" y="1785"/>
                  <a:pt x="2112" y="1779"/>
                  <a:pt x="2091" y="1772"/>
                </a:cubicBezTo>
                <a:lnTo>
                  <a:pt x="2091" y="1772"/>
                </a:lnTo>
                <a:cubicBezTo>
                  <a:pt x="2086" y="1771"/>
                  <a:pt x="2080" y="1769"/>
                  <a:pt x="2075" y="1768"/>
                </a:cubicBezTo>
                <a:lnTo>
                  <a:pt x="2075" y="1768"/>
                </a:lnTo>
                <a:cubicBezTo>
                  <a:pt x="2061" y="1763"/>
                  <a:pt x="2045" y="1759"/>
                  <a:pt x="2031" y="1754"/>
                </a:cubicBezTo>
                <a:lnTo>
                  <a:pt x="2031" y="1754"/>
                </a:lnTo>
                <a:cubicBezTo>
                  <a:pt x="2024" y="1752"/>
                  <a:pt x="2018" y="1750"/>
                  <a:pt x="2012" y="1748"/>
                </a:cubicBezTo>
                <a:lnTo>
                  <a:pt x="2012" y="1748"/>
                </a:lnTo>
                <a:cubicBezTo>
                  <a:pt x="1996" y="1744"/>
                  <a:pt x="1982" y="1739"/>
                  <a:pt x="1966" y="1734"/>
                </a:cubicBezTo>
                <a:lnTo>
                  <a:pt x="1966" y="1734"/>
                </a:lnTo>
                <a:cubicBezTo>
                  <a:pt x="1962" y="1732"/>
                  <a:pt x="1957" y="1731"/>
                  <a:pt x="1953" y="1729"/>
                </a:cubicBezTo>
                <a:lnTo>
                  <a:pt x="1953" y="1729"/>
                </a:lnTo>
                <a:cubicBezTo>
                  <a:pt x="1933" y="1723"/>
                  <a:pt x="1914" y="1717"/>
                  <a:pt x="1894" y="1711"/>
                </a:cubicBezTo>
                <a:lnTo>
                  <a:pt x="1894" y="1711"/>
                </a:lnTo>
                <a:cubicBezTo>
                  <a:pt x="1888" y="1708"/>
                  <a:pt x="1883" y="1707"/>
                  <a:pt x="1877" y="1705"/>
                </a:cubicBezTo>
                <a:lnTo>
                  <a:pt x="1877" y="1705"/>
                </a:lnTo>
                <a:cubicBezTo>
                  <a:pt x="1865" y="1701"/>
                  <a:pt x="1854" y="1697"/>
                  <a:pt x="1843" y="1693"/>
                </a:cubicBezTo>
                <a:lnTo>
                  <a:pt x="1843" y="1693"/>
                </a:lnTo>
                <a:cubicBezTo>
                  <a:pt x="1836" y="1691"/>
                  <a:pt x="1830" y="1689"/>
                  <a:pt x="1823" y="1687"/>
                </a:cubicBezTo>
                <a:lnTo>
                  <a:pt x="1823" y="1687"/>
                </a:lnTo>
                <a:cubicBezTo>
                  <a:pt x="1813" y="1683"/>
                  <a:pt x="1802" y="1679"/>
                  <a:pt x="1792" y="1676"/>
                </a:cubicBezTo>
                <a:lnTo>
                  <a:pt x="1792" y="1676"/>
                </a:lnTo>
                <a:cubicBezTo>
                  <a:pt x="1785" y="1673"/>
                  <a:pt x="1778" y="1671"/>
                  <a:pt x="1771" y="1668"/>
                </a:cubicBezTo>
                <a:lnTo>
                  <a:pt x="1771" y="1668"/>
                </a:lnTo>
                <a:cubicBezTo>
                  <a:pt x="1761" y="1665"/>
                  <a:pt x="1751" y="1661"/>
                  <a:pt x="1742" y="1658"/>
                </a:cubicBezTo>
                <a:lnTo>
                  <a:pt x="1742" y="1658"/>
                </a:lnTo>
                <a:cubicBezTo>
                  <a:pt x="1734" y="1656"/>
                  <a:pt x="1728" y="1653"/>
                  <a:pt x="1720" y="1650"/>
                </a:cubicBezTo>
                <a:lnTo>
                  <a:pt x="1720" y="1650"/>
                </a:lnTo>
                <a:cubicBezTo>
                  <a:pt x="1711" y="1647"/>
                  <a:pt x="1701" y="1644"/>
                  <a:pt x="1692" y="1640"/>
                </a:cubicBezTo>
                <a:lnTo>
                  <a:pt x="1692" y="1640"/>
                </a:lnTo>
                <a:cubicBezTo>
                  <a:pt x="1684" y="1637"/>
                  <a:pt x="1677" y="1635"/>
                  <a:pt x="1671" y="1632"/>
                </a:cubicBezTo>
                <a:lnTo>
                  <a:pt x="1671" y="1632"/>
                </a:lnTo>
                <a:cubicBezTo>
                  <a:pt x="1661" y="1628"/>
                  <a:pt x="1651" y="1626"/>
                  <a:pt x="1642" y="1621"/>
                </a:cubicBezTo>
                <a:lnTo>
                  <a:pt x="1642" y="1621"/>
                </a:lnTo>
                <a:cubicBezTo>
                  <a:pt x="1635" y="1619"/>
                  <a:pt x="1628" y="1617"/>
                  <a:pt x="1621" y="1614"/>
                </a:cubicBezTo>
                <a:lnTo>
                  <a:pt x="1621" y="1614"/>
                </a:lnTo>
                <a:cubicBezTo>
                  <a:pt x="1611" y="1610"/>
                  <a:pt x="1602" y="1607"/>
                  <a:pt x="1592" y="1603"/>
                </a:cubicBezTo>
                <a:lnTo>
                  <a:pt x="1592" y="1603"/>
                </a:lnTo>
                <a:cubicBezTo>
                  <a:pt x="1586" y="1600"/>
                  <a:pt x="1579" y="1598"/>
                  <a:pt x="1572" y="1596"/>
                </a:cubicBezTo>
                <a:lnTo>
                  <a:pt x="1572" y="1596"/>
                </a:lnTo>
                <a:cubicBezTo>
                  <a:pt x="1562" y="1592"/>
                  <a:pt x="1552" y="1587"/>
                  <a:pt x="1542" y="1583"/>
                </a:cubicBezTo>
                <a:lnTo>
                  <a:pt x="1542" y="1583"/>
                </a:lnTo>
                <a:cubicBezTo>
                  <a:pt x="1536" y="1581"/>
                  <a:pt x="1531" y="1579"/>
                  <a:pt x="1525" y="1577"/>
                </a:cubicBezTo>
                <a:lnTo>
                  <a:pt x="1525" y="1577"/>
                </a:lnTo>
                <a:cubicBezTo>
                  <a:pt x="1512" y="1572"/>
                  <a:pt x="1498" y="1566"/>
                  <a:pt x="1486" y="1561"/>
                </a:cubicBezTo>
                <a:lnTo>
                  <a:pt x="1486" y="1561"/>
                </a:lnTo>
                <a:cubicBezTo>
                  <a:pt x="1483" y="1560"/>
                  <a:pt x="1480" y="1558"/>
                  <a:pt x="1478" y="1558"/>
                </a:cubicBezTo>
                <a:lnTo>
                  <a:pt x="1478" y="1558"/>
                </a:lnTo>
                <a:cubicBezTo>
                  <a:pt x="1462" y="1552"/>
                  <a:pt x="1447" y="1545"/>
                  <a:pt x="1431" y="1539"/>
                </a:cubicBezTo>
                <a:lnTo>
                  <a:pt x="1431" y="1539"/>
                </a:lnTo>
                <a:cubicBezTo>
                  <a:pt x="1427" y="1537"/>
                  <a:pt x="1422" y="1535"/>
                  <a:pt x="1417" y="1533"/>
                </a:cubicBezTo>
                <a:lnTo>
                  <a:pt x="1417" y="1533"/>
                </a:lnTo>
                <a:cubicBezTo>
                  <a:pt x="1407" y="1528"/>
                  <a:pt x="1396" y="1524"/>
                  <a:pt x="1386" y="1519"/>
                </a:cubicBezTo>
                <a:lnTo>
                  <a:pt x="1386" y="1519"/>
                </a:lnTo>
                <a:cubicBezTo>
                  <a:pt x="1380" y="1517"/>
                  <a:pt x="1374" y="1514"/>
                  <a:pt x="1368" y="1512"/>
                </a:cubicBezTo>
                <a:lnTo>
                  <a:pt x="1368" y="1512"/>
                </a:lnTo>
                <a:cubicBezTo>
                  <a:pt x="1359" y="1507"/>
                  <a:pt x="1350" y="1503"/>
                  <a:pt x="1340" y="1500"/>
                </a:cubicBezTo>
                <a:lnTo>
                  <a:pt x="1340" y="1500"/>
                </a:lnTo>
                <a:cubicBezTo>
                  <a:pt x="1335" y="1497"/>
                  <a:pt x="1328" y="1494"/>
                  <a:pt x="1322" y="1492"/>
                </a:cubicBezTo>
                <a:lnTo>
                  <a:pt x="1322" y="1492"/>
                </a:lnTo>
                <a:cubicBezTo>
                  <a:pt x="1314" y="1487"/>
                  <a:pt x="1305" y="1484"/>
                  <a:pt x="1296" y="1480"/>
                </a:cubicBezTo>
                <a:lnTo>
                  <a:pt x="1296" y="1480"/>
                </a:lnTo>
                <a:cubicBezTo>
                  <a:pt x="1289" y="1477"/>
                  <a:pt x="1284" y="1474"/>
                  <a:pt x="1277" y="1471"/>
                </a:cubicBezTo>
                <a:lnTo>
                  <a:pt x="1277" y="1471"/>
                </a:lnTo>
                <a:cubicBezTo>
                  <a:pt x="1269" y="1467"/>
                  <a:pt x="1260" y="1464"/>
                  <a:pt x="1252" y="1460"/>
                </a:cubicBezTo>
                <a:lnTo>
                  <a:pt x="1252" y="1460"/>
                </a:lnTo>
                <a:cubicBezTo>
                  <a:pt x="1246" y="1457"/>
                  <a:pt x="1239" y="1454"/>
                  <a:pt x="1233" y="1451"/>
                </a:cubicBezTo>
                <a:lnTo>
                  <a:pt x="1233" y="1451"/>
                </a:lnTo>
                <a:cubicBezTo>
                  <a:pt x="1225" y="1447"/>
                  <a:pt x="1217" y="1444"/>
                  <a:pt x="1208" y="1439"/>
                </a:cubicBezTo>
                <a:lnTo>
                  <a:pt x="1208" y="1439"/>
                </a:lnTo>
                <a:cubicBezTo>
                  <a:pt x="1203" y="1436"/>
                  <a:pt x="1196" y="1434"/>
                  <a:pt x="1190" y="1431"/>
                </a:cubicBezTo>
                <a:lnTo>
                  <a:pt x="1190" y="1431"/>
                </a:lnTo>
                <a:cubicBezTo>
                  <a:pt x="1182" y="1426"/>
                  <a:pt x="1173" y="1422"/>
                  <a:pt x="1165" y="1418"/>
                </a:cubicBezTo>
                <a:lnTo>
                  <a:pt x="1165" y="1418"/>
                </a:lnTo>
                <a:cubicBezTo>
                  <a:pt x="1159" y="1416"/>
                  <a:pt x="1154" y="1413"/>
                  <a:pt x="1148" y="1410"/>
                </a:cubicBezTo>
                <a:lnTo>
                  <a:pt x="1148" y="1410"/>
                </a:lnTo>
                <a:cubicBezTo>
                  <a:pt x="1139" y="1406"/>
                  <a:pt x="1130" y="1401"/>
                  <a:pt x="1122" y="1397"/>
                </a:cubicBezTo>
                <a:lnTo>
                  <a:pt x="1122" y="1397"/>
                </a:lnTo>
                <a:cubicBezTo>
                  <a:pt x="1116" y="1395"/>
                  <a:pt x="1112" y="1392"/>
                  <a:pt x="1106" y="1389"/>
                </a:cubicBezTo>
                <a:lnTo>
                  <a:pt x="1106" y="1389"/>
                </a:lnTo>
                <a:cubicBezTo>
                  <a:pt x="1096" y="1384"/>
                  <a:pt x="1086" y="1379"/>
                  <a:pt x="1076" y="1374"/>
                </a:cubicBezTo>
                <a:lnTo>
                  <a:pt x="1076" y="1374"/>
                </a:lnTo>
                <a:cubicBezTo>
                  <a:pt x="1072" y="1372"/>
                  <a:pt x="1069" y="1370"/>
                  <a:pt x="1065" y="1368"/>
                </a:cubicBezTo>
                <a:lnTo>
                  <a:pt x="1065" y="1368"/>
                </a:lnTo>
                <a:cubicBezTo>
                  <a:pt x="1052" y="1361"/>
                  <a:pt x="1038" y="1354"/>
                  <a:pt x="1025" y="1347"/>
                </a:cubicBezTo>
                <a:lnTo>
                  <a:pt x="1025" y="1347"/>
                </a:lnTo>
                <a:cubicBezTo>
                  <a:pt x="1022" y="1345"/>
                  <a:pt x="1017" y="1344"/>
                  <a:pt x="1014" y="1341"/>
                </a:cubicBezTo>
                <a:lnTo>
                  <a:pt x="1014" y="1341"/>
                </a:lnTo>
                <a:cubicBezTo>
                  <a:pt x="1004" y="1336"/>
                  <a:pt x="995" y="1331"/>
                  <a:pt x="986" y="1326"/>
                </a:cubicBezTo>
                <a:lnTo>
                  <a:pt x="986" y="1326"/>
                </a:lnTo>
                <a:cubicBezTo>
                  <a:pt x="981" y="1323"/>
                  <a:pt x="975" y="1321"/>
                  <a:pt x="971" y="1318"/>
                </a:cubicBezTo>
                <a:lnTo>
                  <a:pt x="971" y="1318"/>
                </a:lnTo>
                <a:cubicBezTo>
                  <a:pt x="962" y="1313"/>
                  <a:pt x="955" y="1309"/>
                  <a:pt x="946" y="1304"/>
                </a:cubicBezTo>
                <a:lnTo>
                  <a:pt x="946" y="1304"/>
                </a:lnTo>
                <a:cubicBezTo>
                  <a:pt x="941" y="1301"/>
                  <a:pt x="936" y="1298"/>
                  <a:pt x="931" y="1295"/>
                </a:cubicBezTo>
                <a:lnTo>
                  <a:pt x="931" y="1295"/>
                </a:lnTo>
                <a:cubicBezTo>
                  <a:pt x="923" y="1291"/>
                  <a:pt x="916" y="1287"/>
                  <a:pt x="908" y="1283"/>
                </a:cubicBezTo>
                <a:lnTo>
                  <a:pt x="908" y="1283"/>
                </a:lnTo>
                <a:cubicBezTo>
                  <a:pt x="903" y="1280"/>
                  <a:pt x="898" y="1277"/>
                  <a:pt x="892" y="1273"/>
                </a:cubicBezTo>
                <a:lnTo>
                  <a:pt x="892" y="1273"/>
                </a:lnTo>
                <a:cubicBezTo>
                  <a:pt x="885" y="1269"/>
                  <a:pt x="878" y="1265"/>
                  <a:pt x="871" y="1261"/>
                </a:cubicBezTo>
                <a:lnTo>
                  <a:pt x="871" y="1261"/>
                </a:lnTo>
                <a:cubicBezTo>
                  <a:pt x="865" y="1258"/>
                  <a:pt x="860" y="1254"/>
                  <a:pt x="855" y="1251"/>
                </a:cubicBezTo>
                <a:lnTo>
                  <a:pt x="855" y="1251"/>
                </a:lnTo>
                <a:cubicBezTo>
                  <a:pt x="848" y="1247"/>
                  <a:pt x="841" y="1243"/>
                  <a:pt x="834" y="1239"/>
                </a:cubicBezTo>
                <a:lnTo>
                  <a:pt x="834" y="1239"/>
                </a:lnTo>
                <a:cubicBezTo>
                  <a:pt x="828" y="1235"/>
                  <a:pt x="823" y="1232"/>
                  <a:pt x="818" y="1229"/>
                </a:cubicBezTo>
                <a:lnTo>
                  <a:pt x="818" y="1229"/>
                </a:lnTo>
                <a:cubicBezTo>
                  <a:pt x="811" y="1224"/>
                  <a:pt x="804" y="1220"/>
                  <a:pt x="797" y="1216"/>
                </a:cubicBezTo>
                <a:lnTo>
                  <a:pt x="797" y="1216"/>
                </a:lnTo>
                <a:cubicBezTo>
                  <a:pt x="792" y="1213"/>
                  <a:pt x="787" y="1210"/>
                  <a:pt x="782" y="1207"/>
                </a:cubicBezTo>
                <a:lnTo>
                  <a:pt x="782" y="1207"/>
                </a:lnTo>
                <a:cubicBezTo>
                  <a:pt x="775" y="1202"/>
                  <a:pt x="768" y="1197"/>
                  <a:pt x="761" y="1193"/>
                </a:cubicBezTo>
                <a:lnTo>
                  <a:pt x="761" y="1193"/>
                </a:lnTo>
                <a:cubicBezTo>
                  <a:pt x="756" y="1190"/>
                  <a:pt x="751" y="1187"/>
                  <a:pt x="747" y="1184"/>
                </a:cubicBezTo>
                <a:lnTo>
                  <a:pt x="747" y="1184"/>
                </a:lnTo>
                <a:cubicBezTo>
                  <a:pt x="739" y="1179"/>
                  <a:pt x="731" y="1174"/>
                  <a:pt x="724" y="1169"/>
                </a:cubicBezTo>
                <a:lnTo>
                  <a:pt x="724" y="1169"/>
                </a:lnTo>
                <a:cubicBezTo>
                  <a:pt x="720" y="1166"/>
                  <a:pt x="716" y="1164"/>
                  <a:pt x="713" y="1162"/>
                </a:cubicBezTo>
                <a:lnTo>
                  <a:pt x="713" y="1162"/>
                </a:lnTo>
                <a:cubicBezTo>
                  <a:pt x="701" y="1154"/>
                  <a:pt x="690" y="1146"/>
                  <a:pt x="679" y="1139"/>
                </a:cubicBezTo>
                <a:lnTo>
                  <a:pt x="679" y="1139"/>
                </a:lnTo>
                <a:cubicBezTo>
                  <a:pt x="677" y="1137"/>
                  <a:pt x="675" y="1136"/>
                  <a:pt x="673" y="1134"/>
                </a:cubicBezTo>
                <a:lnTo>
                  <a:pt x="673" y="1134"/>
                </a:lnTo>
                <a:cubicBezTo>
                  <a:pt x="665" y="1128"/>
                  <a:pt x="655" y="1122"/>
                  <a:pt x="647" y="1116"/>
                </a:cubicBezTo>
                <a:lnTo>
                  <a:pt x="647" y="1116"/>
                </a:lnTo>
                <a:cubicBezTo>
                  <a:pt x="643" y="1113"/>
                  <a:pt x="639" y="1110"/>
                  <a:pt x="635" y="1107"/>
                </a:cubicBezTo>
                <a:lnTo>
                  <a:pt x="635" y="1107"/>
                </a:lnTo>
                <a:cubicBezTo>
                  <a:pt x="628" y="1102"/>
                  <a:pt x="621" y="1097"/>
                  <a:pt x="615" y="1092"/>
                </a:cubicBezTo>
                <a:lnTo>
                  <a:pt x="615" y="1092"/>
                </a:lnTo>
                <a:cubicBezTo>
                  <a:pt x="610" y="1089"/>
                  <a:pt x="606" y="1086"/>
                  <a:pt x="602" y="1083"/>
                </a:cubicBezTo>
                <a:lnTo>
                  <a:pt x="602" y="1083"/>
                </a:lnTo>
                <a:cubicBezTo>
                  <a:pt x="595" y="1078"/>
                  <a:pt x="589" y="1073"/>
                  <a:pt x="583" y="1069"/>
                </a:cubicBezTo>
                <a:lnTo>
                  <a:pt x="583" y="1069"/>
                </a:lnTo>
                <a:cubicBezTo>
                  <a:pt x="579" y="1066"/>
                  <a:pt x="575" y="1062"/>
                  <a:pt x="570" y="1059"/>
                </a:cubicBezTo>
                <a:lnTo>
                  <a:pt x="570" y="1059"/>
                </a:lnTo>
                <a:cubicBezTo>
                  <a:pt x="564" y="1054"/>
                  <a:pt x="558" y="1050"/>
                  <a:pt x="552" y="1045"/>
                </a:cubicBezTo>
                <a:lnTo>
                  <a:pt x="552" y="1045"/>
                </a:lnTo>
                <a:cubicBezTo>
                  <a:pt x="548" y="1042"/>
                  <a:pt x="544" y="1038"/>
                  <a:pt x="539" y="1035"/>
                </a:cubicBezTo>
                <a:lnTo>
                  <a:pt x="539" y="1035"/>
                </a:lnTo>
                <a:cubicBezTo>
                  <a:pt x="534" y="1031"/>
                  <a:pt x="528" y="1026"/>
                  <a:pt x="522" y="1021"/>
                </a:cubicBezTo>
                <a:lnTo>
                  <a:pt x="522" y="1021"/>
                </a:lnTo>
                <a:cubicBezTo>
                  <a:pt x="518" y="1018"/>
                  <a:pt x="514" y="1015"/>
                  <a:pt x="510" y="1011"/>
                </a:cubicBezTo>
                <a:lnTo>
                  <a:pt x="510" y="1011"/>
                </a:lnTo>
                <a:cubicBezTo>
                  <a:pt x="504" y="1007"/>
                  <a:pt x="499" y="1002"/>
                  <a:pt x="493" y="997"/>
                </a:cubicBezTo>
                <a:lnTo>
                  <a:pt x="493" y="997"/>
                </a:lnTo>
                <a:cubicBezTo>
                  <a:pt x="489" y="994"/>
                  <a:pt x="485" y="991"/>
                  <a:pt x="481" y="987"/>
                </a:cubicBezTo>
                <a:lnTo>
                  <a:pt x="481" y="987"/>
                </a:lnTo>
                <a:cubicBezTo>
                  <a:pt x="475" y="982"/>
                  <a:pt x="470" y="978"/>
                  <a:pt x="464" y="973"/>
                </a:cubicBezTo>
                <a:lnTo>
                  <a:pt x="464" y="973"/>
                </a:lnTo>
                <a:cubicBezTo>
                  <a:pt x="461" y="969"/>
                  <a:pt x="457" y="966"/>
                  <a:pt x="453" y="963"/>
                </a:cubicBezTo>
                <a:lnTo>
                  <a:pt x="453" y="963"/>
                </a:lnTo>
                <a:cubicBezTo>
                  <a:pt x="447" y="958"/>
                  <a:pt x="441" y="952"/>
                  <a:pt x="435" y="947"/>
                </a:cubicBezTo>
                <a:lnTo>
                  <a:pt x="435" y="947"/>
                </a:lnTo>
                <a:cubicBezTo>
                  <a:pt x="433" y="944"/>
                  <a:pt x="429" y="941"/>
                  <a:pt x="426" y="938"/>
                </a:cubicBezTo>
                <a:lnTo>
                  <a:pt x="426" y="938"/>
                </a:lnTo>
                <a:cubicBezTo>
                  <a:pt x="418" y="931"/>
                  <a:pt x="410" y="924"/>
                  <a:pt x="402" y="917"/>
                </a:cubicBezTo>
                <a:lnTo>
                  <a:pt x="402" y="917"/>
                </a:lnTo>
                <a:cubicBezTo>
                  <a:pt x="401" y="916"/>
                  <a:pt x="400" y="915"/>
                  <a:pt x="400" y="914"/>
                </a:cubicBezTo>
                <a:lnTo>
                  <a:pt x="400" y="914"/>
                </a:lnTo>
                <a:cubicBezTo>
                  <a:pt x="391" y="906"/>
                  <a:pt x="383" y="898"/>
                  <a:pt x="374" y="890"/>
                </a:cubicBezTo>
                <a:lnTo>
                  <a:pt x="374" y="890"/>
                </a:lnTo>
                <a:cubicBezTo>
                  <a:pt x="371" y="887"/>
                  <a:pt x="368" y="884"/>
                  <a:pt x="366" y="881"/>
                </a:cubicBezTo>
                <a:lnTo>
                  <a:pt x="366" y="881"/>
                </a:lnTo>
                <a:cubicBezTo>
                  <a:pt x="360" y="876"/>
                  <a:pt x="354" y="871"/>
                  <a:pt x="349" y="865"/>
                </a:cubicBezTo>
                <a:lnTo>
                  <a:pt x="349" y="865"/>
                </a:lnTo>
                <a:cubicBezTo>
                  <a:pt x="346" y="862"/>
                  <a:pt x="343" y="858"/>
                  <a:pt x="340" y="855"/>
                </a:cubicBezTo>
                <a:lnTo>
                  <a:pt x="340" y="855"/>
                </a:lnTo>
                <a:cubicBezTo>
                  <a:pt x="335" y="850"/>
                  <a:pt x="330" y="845"/>
                  <a:pt x="325" y="840"/>
                </a:cubicBezTo>
                <a:lnTo>
                  <a:pt x="325" y="840"/>
                </a:lnTo>
                <a:cubicBezTo>
                  <a:pt x="322" y="837"/>
                  <a:pt x="319" y="833"/>
                  <a:pt x="316" y="830"/>
                </a:cubicBezTo>
                <a:lnTo>
                  <a:pt x="316" y="830"/>
                </a:lnTo>
                <a:cubicBezTo>
                  <a:pt x="311" y="825"/>
                  <a:pt x="306" y="820"/>
                  <a:pt x="302" y="815"/>
                </a:cubicBezTo>
                <a:lnTo>
                  <a:pt x="302" y="815"/>
                </a:lnTo>
                <a:cubicBezTo>
                  <a:pt x="299" y="812"/>
                  <a:pt x="296" y="808"/>
                  <a:pt x="292" y="805"/>
                </a:cubicBezTo>
                <a:lnTo>
                  <a:pt x="292" y="805"/>
                </a:lnTo>
                <a:cubicBezTo>
                  <a:pt x="288" y="799"/>
                  <a:pt x="284" y="795"/>
                  <a:pt x="280" y="790"/>
                </a:cubicBezTo>
                <a:lnTo>
                  <a:pt x="280" y="790"/>
                </a:lnTo>
                <a:cubicBezTo>
                  <a:pt x="276" y="786"/>
                  <a:pt x="273" y="783"/>
                  <a:pt x="270" y="778"/>
                </a:cubicBezTo>
                <a:lnTo>
                  <a:pt x="270" y="778"/>
                </a:lnTo>
                <a:cubicBezTo>
                  <a:pt x="266" y="774"/>
                  <a:pt x="262" y="769"/>
                  <a:pt x="258" y="764"/>
                </a:cubicBezTo>
                <a:lnTo>
                  <a:pt x="258" y="764"/>
                </a:lnTo>
                <a:cubicBezTo>
                  <a:pt x="255" y="760"/>
                  <a:pt x="252" y="757"/>
                  <a:pt x="249" y="753"/>
                </a:cubicBezTo>
                <a:lnTo>
                  <a:pt x="249" y="753"/>
                </a:lnTo>
                <a:cubicBezTo>
                  <a:pt x="245" y="749"/>
                  <a:pt x="241" y="743"/>
                  <a:pt x="237" y="739"/>
                </a:cubicBezTo>
                <a:lnTo>
                  <a:pt x="237" y="739"/>
                </a:lnTo>
                <a:cubicBezTo>
                  <a:pt x="234" y="735"/>
                  <a:pt x="231" y="732"/>
                  <a:pt x="228" y="728"/>
                </a:cubicBezTo>
                <a:lnTo>
                  <a:pt x="228" y="728"/>
                </a:lnTo>
                <a:cubicBezTo>
                  <a:pt x="224" y="722"/>
                  <a:pt x="220" y="717"/>
                  <a:pt x="216" y="712"/>
                </a:cubicBezTo>
                <a:lnTo>
                  <a:pt x="216" y="712"/>
                </a:lnTo>
                <a:cubicBezTo>
                  <a:pt x="213" y="709"/>
                  <a:pt x="211" y="705"/>
                  <a:pt x="209" y="702"/>
                </a:cubicBezTo>
                <a:lnTo>
                  <a:pt x="209" y="702"/>
                </a:lnTo>
                <a:cubicBezTo>
                  <a:pt x="204" y="696"/>
                  <a:pt x="199" y="689"/>
                  <a:pt x="195" y="682"/>
                </a:cubicBezTo>
                <a:lnTo>
                  <a:pt x="195" y="682"/>
                </a:lnTo>
                <a:cubicBezTo>
                  <a:pt x="193" y="681"/>
                  <a:pt x="192" y="679"/>
                  <a:pt x="190" y="676"/>
                </a:cubicBezTo>
                <a:lnTo>
                  <a:pt x="190" y="676"/>
                </a:lnTo>
                <a:cubicBezTo>
                  <a:pt x="184" y="668"/>
                  <a:pt x="178" y="659"/>
                  <a:pt x="172" y="651"/>
                </a:cubicBezTo>
                <a:lnTo>
                  <a:pt x="172" y="651"/>
                </a:lnTo>
                <a:cubicBezTo>
                  <a:pt x="171" y="648"/>
                  <a:pt x="169" y="646"/>
                  <a:pt x="168" y="643"/>
                </a:cubicBezTo>
                <a:lnTo>
                  <a:pt x="168" y="643"/>
                </a:lnTo>
                <a:cubicBezTo>
                  <a:pt x="163" y="637"/>
                  <a:pt x="160" y="631"/>
                  <a:pt x="155" y="625"/>
                </a:cubicBezTo>
                <a:lnTo>
                  <a:pt x="155" y="625"/>
                </a:lnTo>
                <a:cubicBezTo>
                  <a:pt x="153" y="621"/>
                  <a:pt x="151" y="618"/>
                  <a:pt x="150" y="615"/>
                </a:cubicBezTo>
                <a:lnTo>
                  <a:pt x="150" y="615"/>
                </a:lnTo>
                <a:cubicBezTo>
                  <a:pt x="146" y="610"/>
                  <a:pt x="142" y="604"/>
                  <a:pt x="140" y="598"/>
                </a:cubicBezTo>
                <a:lnTo>
                  <a:pt x="140" y="598"/>
                </a:lnTo>
                <a:cubicBezTo>
                  <a:pt x="137" y="595"/>
                  <a:pt x="135" y="591"/>
                  <a:pt x="133" y="588"/>
                </a:cubicBezTo>
                <a:lnTo>
                  <a:pt x="133" y="588"/>
                </a:lnTo>
                <a:cubicBezTo>
                  <a:pt x="130" y="583"/>
                  <a:pt x="126" y="577"/>
                  <a:pt x="124" y="572"/>
                </a:cubicBezTo>
                <a:lnTo>
                  <a:pt x="124" y="572"/>
                </a:lnTo>
                <a:cubicBezTo>
                  <a:pt x="122" y="568"/>
                  <a:pt x="120" y="565"/>
                  <a:pt x="118" y="561"/>
                </a:cubicBezTo>
                <a:lnTo>
                  <a:pt x="118" y="561"/>
                </a:lnTo>
                <a:cubicBezTo>
                  <a:pt x="115" y="556"/>
                  <a:pt x="112" y="551"/>
                  <a:pt x="110" y="545"/>
                </a:cubicBezTo>
                <a:lnTo>
                  <a:pt x="110" y="545"/>
                </a:lnTo>
                <a:cubicBezTo>
                  <a:pt x="107" y="542"/>
                  <a:pt x="105" y="538"/>
                  <a:pt x="104" y="534"/>
                </a:cubicBezTo>
                <a:lnTo>
                  <a:pt x="104" y="534"/>
                </a:lnTo>
                <a:cubicBezTo>
                  <a:pt x="101" y="529"/>
                  <a:pt x="98" y="524"/>
                  <a:pt x="96" y="519"/>
                </a:cubicBezTo>
                <a:lnTo>
                  <a:pt x="96" y="519"/>
                </a:lnTo>
                <a:cubicBezTo>
                  <a:pt x="94" y="515"/>
                  <a:pt x="92" y="511"/>
                  <a:pt x="90" y="507"/>
                </a:cubicBezTo>
                <a:lnTo>
                  <a:pt x="90" y="507"/>
                </a:lnTo>
                <a:cubicBezTo>
                  <a:pt x="88" y="503"/>
                  <a:pt x="85" y="497"/>
                  <a:pt x="83" y="492"/>
                </a:cubicBezTo>
                <a:lnTo>
                  <a:pt x="83" y="492"/>
                </a:lnTo>
                <a:cubicBezTo>
                  <a:pt x="81" y="488"/>
                  <a:pt x="80" y="484"/>
                  <a:pt x="78" y="481"/>
                </a:cubicBezTo>
                <a:lnTo>
                  <a:pt x="78" y="481"/>
                </a:lnTo>
                <a:cubicBezTo>
                  <a:pt x="75" y="475"/>
                  <a:pt x="73" y="470"/>
                  <a:pt x="71" y="464"/>
                </a:cubicBezTo>
                <a:lnTo>
                  <a:pt x="71" y="464"/>
                </a:lnTo>
                <a:cubicBezTo>
                  <a:pt x="70" y="461"/>
                  <a:pt x="68" y="457"/>
                  <a:pt x="67" y="454"/>
                </a:cubicBezTo>
                <a:lnTo>
                  <a:pt x="67" y="454"/>
                </a:lnTo>
                <a:cubicBezTo>
                  <a:pt x="64" y="448"/>
                  <a:pt x="61" y="442"/>
                  <a:pt x="59" y="435"/>
                </a:cubicBezTo>
                <a:lnTo>
                  <a:pt x="59" y="435"/>
                </a:lnTo>
                <a:cubicBezTo>
                  <a:pt x="58" y="433"/>
                  <a:pt x="57" y="430"/>
                  <a:pt x="56" y="427"/>
                </a:cubicBezTo>
                <a:lnTo>
                  <a:pt x="56" y="427"/>
                </a:lnTo>
                <a:cubicBezTo>
                  <a:pt x="52" y="418"/>
                  <a:pt x="50" y="409"/>
                  <a:pt x="46" y="400"/>
                </a:cubicBezTo>
                <a:lnTo>
                  <a:pt x="46" y="400"/>
                </a:lnTo>
                <a:cubicBezTo>
                  <a:pt x="45" y="398"/>
                  <a:pt x="45" y="396"/>
                  <a:pt x="44" y="394"/>
                </a:cubicBezTo>
                <a:lnTo>
                  <a:pt x="44" y="394"/>
                </a:lnTo>
                <a:cubicBezTo>
                  <a:pt x="42" y="388"/>
                  <a:pt x="40" y="380"/>
                  <a:pt x="38" y="373"/>
                </a:cubicBezTo>
                <a:lnTo>
                  <a:pt x="38" y="373"/>
                </a:lnTo>
                <a:cubicBezTo>
                  <a:pt x="37" y="370"/>
                  <a:pt x="35" y="366"/>
                  <a:pt x="35" y="363"/>
                </a:cubicBezTo>
                <a:lnTo>
                  <a:pt x="35" y="363"/>
                </a:lnTo>
                <a:cubicBezTo>
                  <a:pt x="33" y="358"/>
                  <a:pt x="31" y="352"/>
                  <a:pt x="30" y="346"/>
                </a:cubicBezTo>
                <a:lnTo>
                  <a:pt x="30" y="346"/>
                </a:lnTo>
                <a:cubicBezTo>
                  <a:pt x="29" y="342"/>
                  <a:pt x="28" y="339"/>
                  <a:pt x="27" y="335"/>
                </a:cubicBezTo>
                <a:lnTo>
                  <a:pt x="27" y="335"/>
                </a:lnTo>
                <a:cubicBezTo>
                  <a:pt x="25" y="329"/>
                  <a:pt x="24" y="324"/>
                  <a:pt x="22" y="318"/>
                </a:cubicBezTo>
                <a:lnTo>
                  <a:pt x="22" y="318"/>
                </a:lnTo>
                <a:cubicBezTo>
                  <a:pt x="22" y="315"/>
                  <a:pt x="21" y="310"/>
                  <a:pt x="20" y="307"/>
                </a:cubicBezTo>
                <a:lnTo>
                  <a:pt x="20" y="307"/>
                </a:lnTo>
                <a:cubicBezTo>
                  <a:pt x="19" y="302"/>
                  <a:pt x="18" y="296"/>
                  <a:pt x="17" y="291"/>
                </a:cubicBezTo>
                <a:lnTo>
                  <a:pt x="17" y="291"/>
                </a:lnTo>
                <a:cubicBezTo>
                  <a:pt x="16" y="287"/>
                  <a:pt x="15" y="283"/>
                  <a:pt x="14" y="279"/>
                </a:cubicBezTo>
                <a:lnTo>
                  <a:pt x="14" y="279"/>
                </a:lnTo>
                <a:cubicBezTo>
                  <a:pt x="14" y="273"/>
                  <a:pt x="12" y="268"/>
                  <a:pt x="12" y="263"/>
                </a:cubicBezTo>
                <a:lnTo>
                  <a:pt x="12" y="263"/>
                </a:lnTo>
                <a:cubicBezTo>
                  <a:pt x="11" y="259"/>
                  <a:pt x="10" y="255"/>
                  <a:pt x="10" y="251"/>
                </a:cubicBezTo>
                <a:lnTo>
                  <a:pt x="10" y="251"/>
                </a:lnTo>
                <a:cubicBezTo>
                  <a:pt x="9" y="246"/>
                  <a:pt x="9" y="241"/>
                  <a:pt x="7" y="235"/>
                </a:cubicBezTo>
                <a:lnTo>
                  <a:pt x="7" y="235"/>
                </a:lnTo>
                <a:cubicBezTo>
                  <a:pt x="7" y="231"/>
                  <a:pt x="7" y="228"/>
                  <a:pt x="6" y="224"/>
                </a:cubicBezTo>
                <a:lnTo>
                  <a:pt x="6" y="224"/>
                </a:lnTo>
                <a:cubicBezTo>
                  <a:pt x="6" y="218"/>
                  <a:pt x="5" y="212"/>
                  <a:pt x="4" y="207"/>
                </a:cubicBezTo>
                <a:lnTo>
                  <a:pt x="4" y="207"/>
                </a:lnTo>
                <a:cubicBezTo>
                  <a:pt x="4" y="203"/>
                  <a:pt x="4" y="199"/>
                  <a:pt x="3" y="196"/>
                </a:cubicBezTo>
                <a:lnTo>
                  <a:pt x="3" y="196"/>
                </a:lnTo>
                <a:cubicBezTo>
                  <a:pt x="2" y="189"/>
                  <a:pt x="2" y="183"/>
                  <a:pt x="2" y="177"/>
                </a:cubicBezTo>
                <a:lnTo>
                  <a:pt x="2" y="177"/>
                </a:lnTo>
                <a:cubicBezTo>
                  <a:pt x="2" y="174"/>
                  <a:pt x="1" y="171"/>
                  <a:pt x="1" y="168"/>
                </a:cubicBezTo>
                <a:lnTo>
                  <a:pt x="1" y="168"/>
                </a:lnTo>
                <a:cubicBezTo>
                  <a:pt x="1" y="158"/>
                  <a:pt x="1" y="150"/>
                  <a:pt x="0" y="140"/>
                </a:cubicBezTo>
                <a:lnTo>
                  <a:pt x="20" y="1401"/>
                </a:lnTo>
                <a:lnTo>
                  <a:pt x="20" y="1401"/>
                </a:lnTo>
                <a:cubicBezTo>
                  <a:pt x="20" y="1410"/>
                  <a:pt x="21" y="1419"/>
                  <a:pt x="21" y="1428"/>
                </a:cubicBezTo>
                <a:lnTo>
                  <a:pt x="21" y="1428"/>
                </a:lnTo>
                <a:cubicBezTo>
                  <a:pt x="21" y="1432"/>
                  <a:pt x="21" y="1435"/>
                  <a:pt x="21" y="1438"/>
                </a:cubicBezTo>
                <a:lnTo>
                  <a:pt x="21" y="1438"/>
                </a:lnTo>
                <a:cubicBezTo>
                  <a:pt x="22" y="1444"/>
                  <a:pt x="22" y="1450"/>
                  <a:pt x="23" y="1456"/>
                </a:cubicBezTo>
                <a:lnTo>
                  <a:pt x="23" y="1456"/>
                </a:lnTo>
                <a:cubicBezTo>
                  <a:pt x="23" y="1460"/>
                  <a:pt x="24" y="1464"/>
                  <a:pt x="24" y="1467"/>
                </a:cubicBezTo>
                <a:lnTo>
                  <a:pt x="24" y="1467"/>
                </a:lnTo>
                <a:cubicBezTo>
                  <a:pt x="24" y="1473"/>
                  <a:pt x="25" y="1478"/>
                  <a:pt x="25" y="1484"/>
                </a:cubicBezTo>
                <a:lnTo>
                  <a:pt x="25" y="1484"/>
                </a:lnTo>
                <a:cubicBezTo>
                  <a:pt x="26" y="1488"/>
                  <a:pt x="27" y="1492"/>
                  <a:pt x="27" y="1496"/>
                </a:cubicBezTo>
                <a:lnTo>
                  <a:pt x="27" y="1496"/>
                </a:lnTo>
                <a:cubicBezTo>
                  <a:pt x="28" y="1501"/>
                  <a:pt x="29" y="1506"/>
                  <a:pt x="30" y="1512"/>
                </a:cubicBezTo>
                <a:lnTo>
                  <a:pt x="30" y="1512"/>
                </a:lnTo>
                <a:cubicBezTo>
                  <a:pt x="30" y="1516"/>
                  <a:pt x="31" y="1520"/>
                  <a:pt x="31" y="1523"/>
                </a:cubicBezTo>
                <a:lnTo>
                  <a:pt x="31" y="1523"/>
                </a:lnTo>
                <a:cubicBezTo>
                  <a:pt x="32" y="1529"/>
                  <a:pt x="33" y="1535"/>
                  <a:pt x="34" y="1540"/>
                </a:cubicBezTo>
                <a:lnTo>
                  <a:pt x="34" y="1540"/>
                </a:lnTo>
                <a:cubicBezTo>
                  <a:pt x="35" y="1543"/>
                  <a:pt x="35" y="1547"/>
                  <a:pt x="37" y="1551"/>
                </a:cubicBezTo>
                <a:lnTo>
                  <a:pt x="37" y="1551"/>
                </a:lnTo>
                <a:cubicBezTo>
                  <a:pt x="38" y="1557"/>
                  <a:pt x="39" y="1562"/>
                  <a:pt x="40" y="1567"/>
                </a:cubicBezTo>
                <a:lnTo>
                  <a:pt x="40" y="1567"/>
                </a:lnTo>
                <a:cubicBezTo>
                  <a:pt x="41" y="1571"/>
                  <a:pt x="41" y="1575"/>
                  <a:pt x="42" y="1578"/>
                </a:cubicBezTo>
                <a:lnTo>
                  <a:pt x="42" y="1578"/>
                </a:lnTo>
                <a:cubicBezTo>
                  <a:pt x="44" y="1585"/>
                  <a:pt x="45" y="1590"/>
                  <a:pt x="47" y="1595"/>
                </a:cubicBezTo>
                <a:lnTo>
                  <a:pt x="47" y="1595"/>
                </a:lnTo>
                <a:cubicBezTo>
                  <a:pt x="47" y="1599"/>
                  <a:pt x="49" y="1603"/>
                  <a:pt x="50" y="1606"/>
                </a:cubicBezTo>
                <a:lnTo>
                  <a:pt x="50" y="1606"/>
                </a:lnTo>
                <a:cubicBezTo>
                  <a:pt x="51" y="1612"/>
                  <a:pt x="52" y="1618"/>
                  <a:pt x="54" y="1624"/>
                </a:cubicBezTo>
                <a:lnTo>
                  <a:pt x="54" y="1624"/>
                </a:lnTo>
                <a:cubicBezTo>
                  <a:pt x="55" y="1627"/>
                  <a:pt x="56" y="1630"/>
                  <a:pt x="57" y="1633"/>
                </a:cubicBezTo>
                <a:lnTo>
                  <a:pt x="57" y="1633"/>
                </a:lnTo>
                <a:cubicBezTo>
                  <a:pt x="60" y="1641"/>
                  <a:pt x="62" y="1648"/>
                  <a:pt x="64" y="1655"/>
                </a:cubicBezTo>
                <a:lnTo>
                  <a:pt x="64" y="1655"/>
                </a:lnTo>
                <a:cubicBezTo>
                  <a:pt x="65" y="1657"/>
                  <a:pt x="65" y="1659"/>
                  <a:pt x="66" y="1661"/>
                </a:cubicBezTo>
                <a:lnTo>
                  <a:pt x="66" y="1661"/>
                </a:lnTo>
                <a:cubicBezTo>
                  <a:pt x="69" y="1670"/>
                  <a:pt x="72" y="1678"/>
                  <a:pt x="75" y="1687"/>
                </a:cubicBezTo>
                <a:lnTo>
                  <a:pt x="75" y="1687"/>
                </a:lnTo>
                <a:cubicBezTo>
                  <a:pt x="77" y="1690"/>
                  <a:pt x="78" y="1693"/>
                  <a:pt x="78" y="1696"/>
                </a:cubicBezTo>
                <a:lnTo>
                  <a:pt x="78" y="1696"/>
                </a:lnTo>
                <a:cubicBezTo>
                  <a:pt x="81" y="1702"/>
                  <a:pt x="84" y="1708"/>
                  <a:pt x="86" y="1714"/>
                </a:cubicBezTo>
                <a:lnTo>
                  <a:pt x="86" y="1714"/>
                </a:lnTo>
                <a:cubicBezTo>
                  <a:pt x="87" y="1718"/>
                  <a:pt x="89" y="1721"/>
                  <a:pt x="91" y="1725"/>
                </a:cubicBezTo>
                <a:lnTo>
                  <a:pt x="91" y="1725"/>
                </a:lnTo>
                <a:cubicBezTo>
                  <a:pt x="92" y="1730"/>
                  <a:pt x="95" y="1736"/>
                  <a:pt x="98" y="1741"/>
                </a:cubicBezTo>
                <a:lnTo>
                  <a:pt x="98" y="1741"/>
                </a:lnTo>
                <a:cubicBezTo>
                  <a:pt x="99" y="1745"/>
                  <a:pt x="101" y="1748"/>
                  <a:pt x="102" y="1752"/>
                </a:cubicBezTo>
                <a:lnTo>
                  <a:pt x="102" y="1752"/>
                </a:lnTo>
                <a:cubicBezTo>
                  <a:pt x="105" y="1758"/>
                  <a:pt x="107" y="1763"/>
                  <a:pt x="110" y="1768"/>
                </a:cubicBezTo>
                <a:lnTo>
                  <a:pt x="110" y="1768"/>
                </a:lnTo>
                <a:cubicBezTo>
                  <a:pt x="112" y="1772"/>
                  <a:pt x="114" y="1775"/>
                  <a:pt x="115" y="1779"/>
                </a:cubicBezTo>
                <a:lnTo>
                  <a:pt x="115" y="1779"/>
                </a:lnTo>
                <a:cubicBezTo>
                  <a:pt x="118" y="1785"/>
                  <a:pt x="121" y="1789"/>
                  <a:pt x="123" y="1795"/>
                </a:cubicBezTo>
                <a:lnTo>
                  <a:pt x="123" y="1795"/>
                </a:lnTo>
                <a:cubicBezTo>
                  <a:pt x="125" y="1798"/>
                  <a:pt x="127" y="1802"/>
                  <a:pt x="129" y="1806"/>
                </a:cubicBezTo>
                <a:lnTo>
                  <a:pt x="129" y="1806"/>
                </a:lnTo>
                <a:cubicBezTo>
                  <a:pt x="132" y="1811"/>
                  <a:pt x="135" y="1817"/>
                  <a:pt x="137" y="1821"/>
                </a:cubicBezTo>
                <a:lnTo>
                  <a:pt x="137" y="1821"/>
                </a:lnTo>
                <a:cubicBezTo>
                  <a:pt x="140" y="1825"/>
                  <a:pt x="141" y="1829"/>
                  <a:pt x="143" y="1833"/>
                </a:cubicBezTo>
                <a:lnTo>
                  <a:pt x="143" y="1833"/>
                </a:lnTo>
                <a:cubicBezTo>
                  <a:pt x="146" y="1838"/>
                  <a:pt x="150" y="1843"/>
                  <a:pt x="152" y="1848"/>
                </a:cubicBezTo>
                <a:lnTo>
                  <a:pt x="152" y="1848"/>
                </a:lnTo>
                <a:cubicBezTo>
                  <a:pt x="155" y="1852"/>
                  <a:pt x="156" y="1855"/>
                  <a:pt x="159" y="1859"/>
                </a:cubicBezTo>
                <a:lnTo>
                  <a:pt x="159" y="1859"/>
                </a:lnTo>
                <a:cubicBezTo>
                  <a:pt x="162" y="1865"/>
                  <a:pt x="165" y="1870"/>
                  <a:pt x="169" y="1875"/>
                </a:cubicBezTo>
                <a:lnTo>
                  <a:pt x="169" y="1875"/>
                </a:lnTo>
                <a:cubicBezTo>
                  <a:pt x="171" y="1879"/>
                  <a:pt x="173" y="1882"/>
                  <a:pt x="175" y="1885"/>
                </a:cubicBezTo>
                <a:lnTo>
                  <a:pt x="175" y="1885"/>
                </a:lnTo>
                <a:cubicBezTo>
                  <a:pt x="179" y="1891"/>
                  <a:pt x="183" y="1898"/>
                  <a:pt x="187" y="1903"/>
                </a:cubicBezTo>
                <a:lnTo>
                  <a:pt x="187" y="1903"/>
                </a:lnTo>
                <a:cubicBezTo>
                  <a:pt x="189" y="1906"/>
                  <a:pt x="191" y="1909"/>
                  <a:pt x="192" y="1911"/>
                </a:cubicBezTo>
                <a:lnTo>
                  <a:pt x="192" y="1911"/>
                </a:lnTo>
                <a:cubicBezTo>
                  <a:pt x="198" y="1920"/>
                  <a:pt x="203" y="1929"/>
                  <a:pt x="210" y="1937"/>
                </a:cubicBezTo>
                <a:lnTo>
                  <a:pt x="210" y="1937"/>
                </a:lnTo>
                <a:cubicBezTo>
                  <a:pt x="211" y="1939"/>
                  <a:pt x="213" y="1941"/>
                  <a:pt x="214" y="1943"/>
                </a:cubicBezTo>
                <a:lnTo>
                  <a:pt x="214" y="1943"/>
                </a:lnTo>
                <a:cubicBezTo>
                  <a:pt x="219" y="1950"/>
                  <a:pt x="223" y="1956"/>
                  <a:pt x="229" y="1963"/>
                </a:cubicBezTo>
                <a:lnTo>
                  <a:pt x="229" y="1963"/>
                </a:lnTo>
                <a:cubicBezTo>
                  <a:pt x="231" y="1966"/>
                  <a:pt x="233" y="1969"/>
                  <a:pt x="236" y="1972"/>
                </a:cubicBezTo>
                <a:lnTo>
                  <a:pt x="236" y="1972"/>
                </a:lnTo>
                <a:cubicBezTo>
                  <a:pt x="240" y="1978"/>
                  <a:pt x="244" y="1983"/>
                  <a:pt x="248" y="1989"/>
                </a:cubicBezTo>
                <a:lnTo>
                  <a:pt x="248" y="1989"/>
                </a:lnTo>
                <a:cubicBezTo>
                  <a:pt x="251" y="1992"/>
                  <a:pt x="253" y="1996"/>
                  <a:pt x="256" y="1999"/>
                </a:cubicBezTo>
                <a:lnTo>
                  <a:pt x="256" y="1999"/>
                </a:lnTo>
                <a:cubicBezTo>
                  <a:pt x="261" y="2004"/>
                  <a:pt x="264" y="2009"/>
                  <a:pt x="269" y="2014"/>
                </a:cubicBezTo>
                <a:lnTo>
                  <a:pt x="269" y="2014"/>
                </a:lnTo>
                <a:cubicBezTo>
                  <a:pt x="272" y="2017"/>
                  <a:pt x="274" y="2021"/>
                  <a:pt x="277" y="2025"/>
                </a:cubicBezTo>
                <a:lnTo>
                  <a:pt x="277" y="2025"/>
                </a:lnTo>
                <a:cubicBezTo>
                  <a:pt x="282" y="2030"/>
                  <a:pt x="286" y="2034"/>
                  <a:pt x="290" y="2039"/>
                </a:cubicBezTo>
                <a:lnTo>
                  <a:pt x="290" y="2039"/>
                </a:lnTo>
                <a:cubicBezTo>
                  <a:pt x="293" y="2043"/>
                  <a:pt x="296" y="2047"/>
                  <a:pt x="299" y="2050"/>
                </a:cubicBezTo>
                <a:lnTo>
                  <a:pt x="299" y="2050"/>
                </a:lnTo>
                <a:cubicBezTo>
                  <a:pt x="303" y="2055"/>
                  <a:pt x="307" y="2060"/>
                  <a:pt x="312" y="2065"/>
                </a:cubicBezTo>
                <a:lnTo>
                  <a:pt x="312" y="2065"/>
                </a:lnTo>
                <a:cubicBezTo>
                  <a:pt x="315" y="2068"/>
                  <a:pt x="319" y="2072"/>
                  <a:pt x="322" y="2075"/>
                </a:cubicBezTo>
                <a:lnTo>
                  <a:pt x="322" y="2075"/>
                </a:lnTo>
                <a:cubicBezTo>
                  <a:pt x="326" y="2080"/>
                  <a:pt x="330" y="2085"/>
                  <a:pt x="335" y="2090"/>
                </a:cubicBezTo>
                <a:lnTo>
                  <a:pt x="335" y="2090"/>
                </a:lnTo>
                <a:cubicBezTo>
                  <a:pt x="338" y="2094"/>
                  <a:pt x="342" y="2097"/>
                  <a:pt x="345" y="2101"/>
                </a:cubicBezTo>
                <a:lnTo>
                  <a:pt x="345" y="2101"/>
                </a:lnTo>
                <a:cubicBezTo>
                  <a:pt x="350" y="2105"/>
                  <a:pt x="354" y="2111"/>
                  <a:pt x="359" y="2115"/>
                </a:cubicBezTo>
                <a:lnTo>
                  <a:pt x="359" y="2115"/>
                </a:lnTo>
                <a:cubicBezTo>
                  <a:pt x="362" y="2119"/>
                  <a:pt x="366" y="2122"/>
                  <a:pt x="369" y="2125"/>
                </a:cubicBezTo>
                <a:lnTo>
                  <a:pt x="369" y="2125"/>
                </a:lnTo>
                <a:cubicBezTo>
                  <a:pt x="374" y="2131"/>
                  <a:pt x="380" y="2136"/>
                  <a:pt x="385" y="2142"/>
                </a:cubicBezTo>
                <a:lnTo>
                  <a:pt x="385" y="2142"/>
                </a:lnTo>
                <a:cubicBezTo>
                  <a:pt x="388" y="2145"/>
                  <a:pt x="391" y="2148"/>
                  <a:pt x="394" y="2150"/>
                </a:cubicBezTo>
                <a:lnTo>
                  <a:pt x="394" y="2150"/>
                </a:lnTo>
                <a:cubicBezTo>
                  <a:pt x="402" y="2158"/>
                  <a:pt x="410" y="2166"/>
                  <a:pt x="419" y="2175"/>
                </a:cubicBezTo>
                <a:lnTo>
                  <a:pt x="419" y="2175"/>
                </a:lnTo>
                <a:cubicBezTo>
                  <a:pt x="420" y="2176"/>
                  <a:pt x="421" y="2177"/>
                  <a:pt x="423" y="2178"/>
                </a:cubicBezTo>
                <a:lnTo>
                  <a:pt x="423" y="2178"/>
                </a:lnTo>
                <a:cubicBezTo>
                  <a:pt x="430" y="2185"/>
                  <a:pt x="438" y="2192"/>
                  <a:pt x="445" y="2199"/>
                </a:cubicBezTo>
                <a:lnTo>
                  <a:pt x="445" y="2199"/>
                </a:lnTo>
                <a:cubicBezTo>
                  <a:pt x="449" y="2202"/>
                  <a:pt x="452" y="2205"/>
                  <a:pt x="455" y="2208"/>
                </a:cubicBezTo>
                <a:lnTo>
                  <a:pt x="455" y="2208"/>
                </a:lnTo>
                <a:cubicBezTo>
                  <a:pt x="461" y="2214"/>
                  <a:pt x="467" y="2218"/>
                  <a:pt x="473" y="2224"/>
                </a:cubicBezTo>
                <a:lnTo>
                  <a:pt x="473" y="2224"/>
                </a:lnTo>
                <a:cubicBezTo>
                  <a:pt x="477" y="2226"/>
                  <a:pt x="480" y="2230"/>
                  <a:pt x="484" y="2234"/>
                </a:cubicBezTo>
                <a:lnTo>
                  <a:pt x="484" y="2234"/>
                </a:lnTo>
                <a:cubicBezTo>
                  <a:pt x="489" y="2238"/>
                  <a:pt x="495" y="2243"/>
                  <a:pt x="501" y="2247"/>
                </a:cubicBezTo>
                <a:lnTo>
                  <a:pt x="501" y="2247"/>
                </a:lnTo>
                <a:cubicBezTo>
                  <a:pt x="505" y="2251"/>
                  <a:pt x="509" y="2255"/>
                  <a:pt x="513" y="2258"/>
                </a:cubicBezTo>
                <a:lnTo>
                  <a:pt x="513" y="2258"/>
                </a:lnTo>
                <a:cubicBezTo>
                  <a:pt x="518" y="2262"/>
                  <a:pt x="524" y="2267"/>
                  <a:pt x="529" y="2272"/>
                </a:cubicBezTo>
                <a:lnTo>
                  <a:pt x="529" y="2272"/>
                </a:lnTo>
                <a:cubicBezTo>
                  <a:pt x="534" y="2275"/>
                  <a:pt x="538" y="2279"/>
                  <a:pt x="542" y="2282"/>
                </a:cubicBezTo>
                <a:lnTo>
                  <a:pt x="542" y="2282"/>
                </a:lnTo>
                <a:cubicBezTo>
                  <a:pt x="548" y="2286"/>
                  <a:pt x="554" y="2291"/>
                  <a:pt x="559" y="2295"/>
                </a:cubicBezTo>
                <a:lnTo>
                  <a:pt x="559" y="2295"/>
                </a:lnTo>
                <a:cubicBezTo>
                  <a:pt x="564" y="2299"/>
                  <a:pt x="568" y="2302"/>
                  <a:pt x="572" y="2306"/>
                </a:cubicBezTo>
                <a:lnTo>
                  <a:pt x="572" y="2306"/>
                </a:lnTo>
                <a:cubicBezTo>
                  <a:pt x="578" y="2310"/>
                  <a:pt x="583" y="2315"/>
                  <a:pt x="589" y="2319"/>
                </a:cubicBezTo>
                <a:lnTo>
                  <a:pt x="589" y="2319"/>
                </a:lnTo>
                <a:cubicBezTo>
                  <a:pt x="594" y="2323"/>
                  <a:pt x="598" y="2326"/>
                  <a:pt x="603" y="2330"/>
                </a:cubicBezTo>
                <a:lnTo>
                  <a:pt x="603" y="2330"/>
                </a:lnTo>
                <a:cubicBezTo>
                  <a:pt x="609" y="2334"/>
                  <a:pt x="615" y="2338"/>
                  <a:pt x="621" y="2343"/>
                </a:cubicBezTo>
                <a:lnTo>
                  <a:pt x="621" y="2343"/>
                </a:lnTo>
                <a:cubicBezTo>
                  <a:pt x="625" y="2346"/>
                  <a:pt x="630" y="2350"/>
                  <a:pt x="635" y="2353"/>
                </a:cubicBezTo>
                <a:lnTo>
                  <a:pt x="635" y="2353"/>
                </a:lnTo>
                <a:cubicBezTo>
                  <a:pt x="641" y="2358"/>
                  <a:pt x="648" y="2362"/>
                  <a:pt x="654" y="2367"/>
                </a:cubicBezTo>
                <a:lnTo>
                  <a:pt x="654" y="2367"/>
                </a:lnTo>
                <a:cubicBezTo>
                  <a:pt x="658" y="2370"/>
                  <a:pt x="662" y="2373"/>
                  <a:pt x="666" y="2376"/>
                </a:cubicBezTo>
                <a:lnTo>
                  <a:pt x="666" y="2376"/>
                </a:lnTo>
                <a:cubicBezTo>
                  <a:pt x="675" y="2382"/>
                  <a:pt x="682" y="2387"/>
                  <a:pt x="690" y="2393"/>
                </a:cubicBezTo>
                <a:lnTo>
                  <a:pt x="690" y="2393"/>
                </a:lnTo>
                <a:cubicBezTo>
                  <a:pt x="693" y="2395"/>
                  <a:pt x="696" y="2397"/>
                  <a:pt x="699" y="2399"/>
                </a:cubicBezTo>
                <a:lnTo>
                  <a:pt x="699" y="2399"/>
                </a:lnTo>
                <a:cubicBezTo>
                  <a:pt x="710" y="2407"/>
                  <a:pt x="721" y="2414"/>
                  <a:pt x="732" y="2421"/>
                </a:cubicBezTo>
                <a:lnTo>
                  <a:pt x="732" y="2421"/>
                </a:lnTo>
                <a:cubicBezTo>
                  <a:pt x="736" y="2424"/>
                  <a:pt x="741" y="2427"/>
                  <a:pt x="745" y="2430"/>
                </a:cubicBezTo>
                <a:lnTo>
                  <a:pt x="745" y="2430"/>
                </a:lnTo>
                <a:cubicBezTo>
                  <a:pt x="752" y="2435"/>
                  <a:pt x="759" y="2439"/>
                  <a:pt x="767" y="2444"/>
                </a:cubicBezTo>
                <a:lnTo>
                  <a:pt x="767" y="2444"/>
                </a:lnTo>
                <a:cubicBezTo>
                  <a:pt x="771" y="2448"/>
                  <a:pt x="777" y="2451"/>
                  <a:pt x="781" y="2454"/>
                </a:cubicBezTo>
                <a:lnTo>
                  <a:pt x="781" y="2454"/>
                </a:lnTo>
                <a:cubicBezTo>
                  <a:pt x="788" y="2458"/>
                  <a:pt x="795" y="2463"/>
                  <a:pt x="801" y="2467"/>
                </a:cubicBezTo>
                <a:lnTo>
                  <a:pt x="801" y="2467"/>
                </a:lnTo>
                <a:cubicBezTo>
                  <a:pt x="807" y="2470"/>
                  <a:pt x="812" y="2474"/>
                  <a:pt x="818" y="2477"/>
                </a:cubicBezTo>
                <a:lnTo>
                  <a:pt x="818" y="2477"/>
                </a:lnTo>
                <a:cubicBezTo>
                  <a:pt x="824" y="2481"/>
                  <a:pt x="831" y="2485"/>
                  <a:pt x="837" y="2489"/>
                </a:cubicBezTo>
                <a:lnTo>
                  <a:pt x="837" y="2489"/>
                </a:lnTo>
                <a:cubicBezTo>
                  <a:pt x="843" y="2492"/>
                  <a:pt x="848" y="2496"/>
                  <a:pt x="854" y="2499"/>
                </a:cubicBezTo>
                <a:lnTo>
                  <a:pt x="854" y="2499"/>
                </a:lnTo>
                <a:cubicBezTo>
                  <a:pt x="861" y="2504"/>
                  <a:pt x="867" y="2507"/>
                  <a:pt x="873" y="2511"/>
                </a:cubicBezTo>
                <a:lnTo>
                  <a:pt x="873" y="2511"/>
                </a:lnTo>
                <a:cubicBezTo>
                  <a:pt x="880" y="2515"/>
                  <a:pt x="885" y="2518"/>
                  <a:pt x="891" y="2522"/>
                </a:cubicBezTo>
                <a:lnTo>
                  <a:pt x="891" y="2522"/>
                </a:lnTo>
                <a:cubicBezTo>
                  <a:pt x="898" y="2525"/>
                  <a:pt x="904" y="2529"/>
                  <a:pt x="911" y="2534"/>
                </a:cubicBezTo>
                <a:lnTo>
                  <a:pt x="911" y="2534"/>
                </a:lnTo>
                <a:cubicBezTo>
                  <a:pt x="917" y="2537"/>
                  <a:pt x="923" y="2540"/>
                  <a:pt x="928" y="2544"/>
                </a:cubicBezTo>
                <a:lnTo>
                  <a:pt x="928" y="2544"/>
                </a:lnTo>
                <a:cubicBezTo>
                  <a:pt x="935" y="2548"/>
                  <a:pt x="942" y="2551"/>
                  <a:pt x="949" y="2555"/>
                </a:cubicBezTo>
                <a:lnTo>
                  <a:pt x="949" y="2555"/>
                </a:lnTo>
                <a:cubicBezTo>
                  <a:pt x="955" y="2559"/>
                  <a:pt x="961" y="2562"/>
                  <a:pt x="966" y="2565"/>
                </a:cubicBezTo>
                <a:lnTo>
                  <a:pt x="966" y="2565"/>
                </a:lnTo>
                <a:cubicBezTo>
                  <a:pt x="974" y="2569"/>
                  <a:pt x="981" y="2573"/>
                  <a:pt x="989" y="2578"/>
                </a:cubicBezTo>
                <a:lnTo>
                  <a:pt x="989" y="2578"/>
                </a:lnTo>
                <a:cubicBezTo>
                  <a:pt x="994" y="2580"/>
                  <a:pt x="1000" y="2583"/>
                  <a:pt x="1006" y="2587"/>
                </a:cubicBezTo>
                <a:lnTo>
                  <a:pt x="1006" y="2587"/>
                </a:lnTo>
                <a:cubicBezTo>
                  <a:pt x="1014" y="2591"/>
                  <a:pt x="1022" y="2596"/>
                  <a:pt x="1031" y="2600"/>
                </a:cubicBezTo>
                <a:lnTo>
                  <a:pt x="1031" y="2600"/>
                </a:lnTo>
                <a:cubicBezTo>
                  <a:pt x="1035" y="2603"/>
                  <a:pt x="1040" y="2605"/>
                  <a:pt x="1045" y="2608"/>
                </a:cubicBezTo>
                <a:lnTo>
                  <a:pt x="1045" y="2608"/>
                </a:lnTo>
                <a:cubicBezTo>
                  <a:pt x="1058" y="2615"/>
                  <a:pt x="1071" y="2622"/>
                  <a:pt x="1084" y="2629"/>
                </a:cubicBezTo>
                <a:lnTo>
                  <a:pt x="1084" y="2629"/>
                </a:lnTo>
                <a:cubicBezTo>
                  <a:pt x="1089" y="2631"/>
                  <a:pt x="1094" y="2634"/>
                  <a:pt x="1099" y="2636"/>
                </a:cubicBezTo>
                <a:lnTo>
                  <a:pt x="1099" y="2636"/>
                </a:lnTo>
                <a:cubicBezTo>
                  <a:pt x="1108" y="2640"/>
                  <a:pt x="1117" y="2645"/>
                  <a:pt x="1125" y="2649"/>
                </a:cubicBezTo>
                <a:lnTo>
                  <a:pt x="1125" y="2649"/>
                </a:lnTo>
                <a:cubicBezTo>
                  <a:pt x="1132" y="2653"/>
                  <a:pt x="1137" y="2656"/>
                  <a:pt x="1143" y="2659"/>
                </a:cubicBezTo>
                <a:lnTo>
                  <a:pt x="1143" y="2659"/>
                </a:lnTo>
                <a:cubicBezTo>
                  <a:pt x="1151" y="2662"/>
                  <a:pt x="1159" y="2666"/>
                  <a:pt x="1167" y="2670"/>
                </a:cubicBezTo>
                <a:lnTo>
                  <a:pt x="1167" y="2670"/>
                </a:lnTo>
                <a:cubicBezTo>
                  <a:pt x="1173" y="2673"/>
                  <a:pt x="1180" y="2676"/>
                  <a:pt x="1186" y="2680"/>
                </a:cubicBezTo>
                <a:lnTo>
                  <a:pt x="1186" y="2680"/>
                </a:lnTo>
                <a:cubicBezTo>
                  <a:pt x="1194" y="2683"/>
                  <a:pt x="1201" y="2687"/>
                  <a:pt x="1209" y="2691"/>
                </a:cubicBezTo>
                <a:lnTo>
                  <a:pt x="1209" y="2691"/>
                </a:lnTo>
                <a:cubicBezTo>
                  <a:pt x="1215" y="2694"/>
                  <a:pt x="1223" y="2697"/>
                  <a:pt x="1229" y="2700"/>
                </a:cubicBezTo>
                <a:lnTo>
                  <a:pt x="1229" y="2700"/>
                </a:lnTo>
                <a:cubicBezTo>
                  <a:pt x="1236" y="2704"/>
                  <a:pt x="1244" y="2708"/>
                  <a:pt x="1252" y="2711"/>
                </a:cubicBezTo>
                <a:lnTo>
                  <a:pt x="1252" y="2711"/>
                </a:lnTo>
                <a:cubicBezTo>
                  <a:pt x="1259" y="2714"/>
                  <a:pt x="1266" y="2718"/>
                  <a:pt x="1272" y="2720"/>
                </a:cubicBezTo>
                <a:lnTo>
                  <a:pt x="1272" y="2720"/>
                </a:lnTo>
                <a:cubicBezTo>
                  <a:pt x="1280" y="2724"/>
                  <a:pt x="1288" y="2727"/>
                  <a:pt x="1295" y="2731"/>
                </a:cubicBezTo>
                <a:lnTo>
                  <a:pt x="1295" y="2731"/>
                </a:lnTo>
                <a:cubicBezTo>
                  <a:pt x="1302" y="2734"/>
                  <a:pt x="1309" y="2737"/>
                  <a:pt x="1316" y="2741"/>
                </a:cubicBezTo>
                <a:lnTo>
                  <a:pt x="1316" y="2741"/>
                </a:lnTo>
                <a:cubicBezTo>
                  <a:pt x="1324" y="2744"/>
                  <a:pt x="1332" y="2747"/>
                  <a:pt x="1340" y="2751"/>
                </a:cubicBezTo>
                <a:lnTo>
                  <a:pt x="1340" y="2751"/>
                </a:lnTo>
                <a:cubicBezTo>
                  <a:pt x="1347" y="2754"/>
                  <a:pt x="1354" y="2757"/>
                  <a:pt x="1361" y="2760"/>
                </a:cubicBezTo>
                <a:lnTo>
                  <a:pt x="1361" y="2760"/>
                </a:lnTo>
                <a:cubicBezTo>
                  <a:pt x="1369" y="2764"/>
                  <a:pt x="1377" y="2767"/>
                  <a:pt x="1385" y="2771"/>
                </a:cubicBezTo>
                <a:lnTo>
                  <a:pt x="1385" y="2771"/>
                </a:lnTo>
                <a:cubicBezTo>
                  <a:pt x="1392" y="2774"/>
                  <a:pt x="1399" y="2777"/>
                  <a:pt x="1406" y="2780"/>
                </a:cubicBezTo>
                <a:lnTo>
                  <a:pt x="1406" y="2780"/>
                </a:lnTo>
                <a:cubicBezTo>
                  <a:pt x="1415" y="2784"/>
                  <a:pt x="1424" y="2787"/>
                  <a:pt x="1432" y="2791"/>
                </a:cubicBezTo>
                <a:lnTo>
                  <a:pt x="1432" y="2791"/>
                </a:lnTo>
                <a:cubicBezTo>
                  <a:pt x="1439" y="2794"/>
                  <a:pt x="1446" y="2797"/>
                  <a:pt x="1452" y="2800"/>
                </a:cubicBezTo>
                <a:lnTo>
                  <a:pt x="1452" y="2800"/>
                </a:lnTo>
                <a:cubicBezTo>
                  <a:pt x="1464" y="2804"/>
                  <a:pt x="1476" y="2810"/>
                  <a:pt x="1488" y="2814"/>
                </a:cubicBezTo>
                <a:lnTo>
                  <a:pt x="1488" y="2814"/>
                </a:lnTo>
                <a:cubicBezTo>
                  <a:pt x="1497" y="2818"/>
                  <a:pt x="1506" y="2821"/>
                  <a:pt x="1515" y="2825"/>
                </a:cubicBezTo>
                <a:lnTo>
                  <a:pt x="1515" y="2825"/>
                </a:lnTo>
                <a:cubicBezTo>
                  <a:pt x="1524" y="2829"/>
                  <a:pt x="1534" y="2833"/>
                  <a:pt x="1544" y="2837"/>
                </a:cubicBezTo>
                <a:lnTo>
                  <a:pt x="1544" y="2837"/>
                </a:lnTo>
                <a:cubicBezTo>
                  <a:pt x="1551" y="2840"/>
                  <a:pt x="1558" y="2843"/>
                  <a:pt x="1565" y="2845"/>
                </a:cubicBezTo>
                <a:lnTo>
                  <a:pt x="1565" y="2845"/>
                </a:lnTo>
                <a:cubicBezTo>
                  <a:pt x="1574" y="2849"/>
                  <a:pt x="1583" y="2852"/>
                  <a:pt x="1591" y="2855"/>
                </a:cubicBezTo>
                <a:lnTo>
                  <a:pt x="1591" y="2855"/>
                </a:lnTo>
                <a:cubicBezTo>
                  <a:pt x="1599" y="2858"/>
                  <a:pt x="1607" y="2861"/>
                  <a:pt x="1615" y="2864"/>
                </a:cubicBezTo>
                <a:lnTo>
                  <a:pt x="1615" y="2864"/>
                </a:lnTo>
                <a:cubicBezTo>
                  <a:pt x="1623" y="2868"/>
                  <a:pt x="1631" y="2871"/>
                  <a:pt x="1639" y="2874"/>
                </a:cubicBezTo>
                <a:lnTo>
                  <a:pt x="1639" y="2874"/>
                </a:lnTo>
                <a:cubicBezTo>
                  <a:pt x="1648" y="2877"/>
                  <a:pt x="1655" y="2880"/>
                  <a:pt x="1663" y="2883"/>
                </a:cubicBezTo>
                <a:lnTo>
                  <a:pt x="1663" y="2883"/>
                </a:lnTo>
                <a:cubicBezTo>
                  <a:pt x="1672" y="2886"/>
                  <a:pt x="1680" y="2889"/>
                  <a:pt x="1689" y="2892"/>
                </a:cubicBezTo>
                <a:lnTo>
                  <a:pt x="1689" y="2892"/>
                </a:lnTo>
                <a:cubicBezTo>
                  <a:pt x="1696" y="2895"/>
                  <a:pt x="1705" y="2898"/>
                  <a:pt x="1713" y="2901"/>
                </a:cubicBezTo>
                <a:lnTo>
                  <a:pt x="1713" y="2901"/>
                </a:lnTo>
                <a:cubicBezTo>
                  <a:pt x="1721" y="2904"/>
                  <a:pt x="1730" y="2907"/>
                  <a:pt x="1738" y="2911"/>
                </a:cubicBezTo>
                <a:lnTo>
                  <a:pt x="1738" y="2911"/>
                </a:lnTo>
                <a:cubicBezTo>
                  <a:pt x="1746" y="2913"/>
                  <a:pt x="1754" y="2916"/>
                  <a:pt x="1762" y="2919"/>
                </a:cubicBezTo>
                <a:lnTo>
                  <a:pt x="1762" y="2919"/>
                </a:lnTo>
                <a:cubicBezTo>
                  <a:pt x="1771" y="2922"/>
                  <a:pt x="1780" y="2925"/>
                  <a:pt x="1789" y="2928"/>
                </a:cubicBezTo>
                <a:lnTo>
                  <a:pt x="1789" y="2928"/>
                </a:lnTo>
                <a:cubicBezTo>
                  <a:pt x="1796" y="2931"/>
                  <a:pt x="1804" y="2934"/>
                  <a:pt x="1813" y="2936"/>
                </a:cubicBezTo>
                <a:lnTo>
                  <a:pt x="1813" y="2936"/>
                </a:lnTo>
                <a:cubicBezTo>
                  <a:pt x="1822" y="2940"/>
                  <a:pt x="1830" y="2943"/>
                  <a:pt x="1840" y="2946"/>
                </a:cubicBezTo>
                <a:lnTo>
                  <a:pt x="1840" y="2946"/>
                </a:lnTo>
                <a:cubicBezTo>
                  <a:pt x="1847" y="2949"/>
                  <a:pt x="1855" y="2951"/>
                  <a:pt x="1864" y="2954"/>
                </a:cubicBezTo>
                <a:lnTo>
                  <a:pt x="1864" y="2954"/>
                </a:lnTo>
                <a:cubicBezTo>
                  <a:pt x="1873" y="2958"/>
                  <a:pt x="1883" y="2961"/>
                  <a:pt x="1892" y="2964"/>
                </a:cubicBezTo>
                <a:lnTo>
                  <a:pt x="1892" y="2964"/>
                </a:lnTo>
                <a:cubicBezTo>
                  <a:pt x="1898" y="2966"/>
                  <a:pt x="1905" y="2968"/>
                  <a:pt x="1911" y="2970"/>
                </a:cubicBezTo>
                <a:lnTo>
                  <a:pt x="1911" y="2970"/>
                </a:lnTo>
                <a:cubicBezTo>
                  <a:pt x="1913" y="2971"/>
                  <a:pt x="1914" y="2971"/>
                  <a:pt x="1915" y="2971"/>
                </a:cubicBezTo>
                <a:lnTo>
                  <a:pt x="1915" y="2971"/>
                </a:lnTo>
                <a:cubicBezTo>
                  <a:pt x="1934" y="2978"/>
                  <a:pt x="1953" y="2984"/>
                  <a:pt x="1971" y="2989"/>
                </a:cubicBezTo>
                <a:lnTo>
                  <a:pt x="1971" y="2989"/>
                </a:lnTo>
                <a:cubicBezTo>
                  <a:pt x="1977" y="2992"/>
                  <a:pt x="1983" y="2994"/>
                  <a:pt x="1988" y="2995"/>
                </a:cubicBezTo>
                <a:lnTo>
                  <a:pt x="1988" y="2995"/>
                </a:lnTo>
                <a:cubicBezTo>
                  <a:pt x="2003" y="2999"/>
                  <a:pt x="2016" y="3004"/>
                  <a:pt x="2031" y="3008"/>
                </a:cubicBezTo>
                <a:lnTo>
                  <a:pt x="2031" y="3008"/>
                </a:lnTo>
                <a:cubicBezTo>
                  <a:pt x="2038" y="3011"/>
                  <a:pt x="2044" y="3013"/>
                  <a:pt x="2051" y="3015"/>
                </a:cubicBezTo>
                <a:lnTo>
                  <a:pt x="2051" y="3015"/>
                </a:lnTo>
                <a:cubicBezTo>
                  <a:pt x="2065" y="3019"/>
                  <a:pt x="2079" y="3023"/>
                  <a:pt x="2094" y="3027"/>
                </a:cubicBezTo>
                <a:lnTo>
                  <a:pt x="2094" y="3027"/>
                </a:lnTo>
                <a:cubicBezTo>
                  <a:pt x="2099" y="3030"/>
                  <a:pt x="2106" y="3032"/>
                  <a:pt x="2112" y="3033"/>
                </a:cubicBezTo>
                <a:lnTo>
                  <a:pt x="2112" y="3033"/>
                </a:lnTo>
                <a:cubicBezTo>
                  <a:pt x="2131" y="3039"/>
                  <a:pt x="2151" y="3045"/>
                  <a:pt x="2171" y="3051"/>
                </a:cubicBezTo>
                <a:lnTo>
                  <a:pt x="2171" y="3051"/>
                </a:lnTo>
                <a:cubicBezTo>
                  <a:pt x="2175" y="3052"/>
                  <a:pt x="2178" y="3053"/>
                  <a:pt x="2181" y="3054"/>
                </a:cubicBezTo>
                <a:lnTo>
                  <a:pt x="2181" y="3054"/>
                </a:lnTo>
                <a:cubicBezTo>
                  <a:pt x="2198" y="3059"/>
                  <a:pt x="2216" y="3063"/>
                  <a:pt x="2232" y="3069"/>
                </a:cubicBezTo>
                <a:lnTo>
                  <a:pt x="2232" y="3069"/>
                </a:lnTo>
                <a:cubicBezTo>
                  <a:pt x="2239" y="3070"/>
                  <a:pt x="2246" y="3072"/>
                  <a:pt x="2253" y="3074"/>
                </a:cubicBezTo>
                <a:lnTo>
                  <a:pt x="2253" y="3074"/>
                </a:lnTo>
                <a:cubicBezTo>
                  <a:pt x="2267" y="3078"/>
                  <a:pt x="2281" y="3082"/>
                  <a:pt x="2296" y="3086"/>
                </a:cubicBezTo>
                <a:lnTo>
                  <a:pt x="2296" y="3086"/>
                </a:lnTo>
                <a:cubicBezTo>
                  <a:pt x="2302" y="3088"/>
                  <a:pt x="2310" y="3090"/>
                  <a:pt x="2316" y="3092"/>
                </a:cubicBezTo>
                <a:lnTo>
                  <a:pt x="2316" y="3092"/>
                </a:lnTo>
                <a:cubicBezTo>
                  <a:pt x="2335" y="3097"/>
                  <a:pt x="2353" y="3102"/>
                  <a:pt x="2372" y="3107"/>
                </a:cubicBezTo>
                <a:lnTo>
                  <a:pt x="2372" y="3107"/>
                </a:lnTo>
                <a:cubicBezTo>
                  <a:pt x="2374" y="3107"/>
                  <a:pt x="2377" y="3108"/>
                  <a:pt x="2379" y="3108"/>
                </a:cubicBezTo>
                <a:lnTo>
                  <a:pt x="2379" y="3108"/>
                </a:lnTo>
                <a:cubicBezTo>
                  <a:pt x="2399" y="3115"/>
                  <a:pt x="2421" y="3120"/>
                  <a:pt x="2442" y="3125"/>
                </a:cubicBezTo>
                <a:lnTo>
                  <a:pt x="2442" y="3125"/>
                </a:lnTo>
                <a:cubicBezTo>
                  <a:pt x="2443" y="3126"/>
                  <a:pt x="2446" y="3126"/>
                  <a:pt x="2448" y="3127"/>
                </a:cubicBezTo>
                <a:lnTo>
                  <a:pt x="2448" y="3127"/>
                </a:lnTo>
                <a:cubicBezTo>
                  <a:pt x="2450" y="3127"/>
                  <a:pt x="2452" y="3128"/>
                  <a:pt x="2455" y="3128"/>
                </a:cubicBezTo>
                <a:lnTo>
                  <a:pt x="2455" y="3128"/>
                </a:lnTo>
                <a:cubicBezTo>
                  <a:pt x="2487" y="3137"/>
                  <a:pt x="2520" y="3145"/>
                  <a:pt x="2553" y="3153"/>
                </a:cubicBezTo>
                <a:lnTo>
                  <a:pt x="2553" y="3153"/>
                </a:lnTo>
                <a:cubicBezTo>
                  <a:pt x="2557" y="3154"/>
                  <a:pt x="2561" y="3155"/>
                  <a:pt x="2564" y="3156"/>
                </a:cubicBezTo>
                <a:lnTo>
                  <a:pt x="2564" y="3156"/>
                </a:lnTo>
                <a:cubicBezTo>
                  <a:pt x="2597" y="3164"/>
                  <a:pt x="2631" y="3171"/>
                  <a:pt x="2664" y="3179"/>
                </a:cubicBezTo>
                <a:lnTo>
                  <a:pt x="2664" y="3179"/>
                </a:lnTo>
                <a:cubicBezTo>
                  <a:pt x="2668" y="3180"/>
                  <a:pt x="2673" y="3181"/>
                  <a:pt x="2677" y="3182"/>
                </a:cubicBezTo>
                <a:lnTo>
                  <a:pt x="2677" y="3182"/>
                </a:lnTo>
                <a:cubicBezTo>
                  <a:pt x="2710" y="3190"/>
                  <a:pt x="2743" y="3197"/>
                  <a:pt x="2777" y="3205"/>
                </a:cubicBezTo>
                <a:lnTo>
                  <a:pt x="2777" y="3205"/>
                </a:lnTo>
                <a:cubicBezTo>
                  <a:pt x="2781" y="3206"/>
                  <a:pt x="2786" y="3207"/>
                  <a:pt x="2791" y="3208"/>
                </a:cubicBezTo>
                <a:lnTo>
                  <a:pt x="2791" y="3208"/>
                </a:lnTo>
                <a:cubicBezTo>
                  <a:pt x="2824" y="3215"/>
                  <a:pt x="2857" y="3222"/>
                  <a:pt x="2892" y="3229"/>
                </a:cubicBezTo>
                <a:lnTo>
                  <a:pt x="2892" y="3229"/>
                </a:lnTo>
                <a:cubicBezTo>
                  <a:pt x="2893" y="3229"/>
                  <a:pt x="2896" y="3230"/>
                  <a:pt x="2897" y="3231"/>
                </a:cubicBezTo>
                <a:lnTo>
                  <a:pt x="2897" y="3231"/>
                </a:lnTo>
                <a:cubicBezTo>
                  <a:pt x="2901" y="3231"/>
                  <a:pt x="2904" y="3232"/>
                  <a:pt x="2907" y="3233"/>
                </a:cubicBezTo>
                <a:lnTo>
                  <a:pt x="2907" y="3233"/>
                </a:lnTo>
                <a:cubicBezTo>
                  <a:pt x="2938" y="3238"/>
                  <a:pt x="2968" y="3245"/>
                  <a:pt x="2999" y="3251"/>
                </a:cubicBezTo>
                <a:lnTo>
                  <a:pt x="2999" y="3251"/>
                </a:lnTo>
                <a:cubicBezTo>
                  <a:pt x="3001" y="3251"/>
                  <a:pt x="3003" y="3252"/>
                  <a:pt x="3004" y="3252"/>
                </a:cubicBezTo>
                <a:lnTo>
                  <a:pt x="3004" y="3252"/>
                </a:lnTo>
                <a:cubicBezTo>
                  <a:pt x="3035" y="3258"/>
                  <a:pt x="3066" y="3264"/>
                  <a:pt x="3097" y="3269"/>
                </a:cubicBezTo>
                <a:lnTo>
                  <a:pt x="3097" y="3269"/>
                </a:lnTo>
                <a:cubicBezTo>
                  <a:pt x="3100" y="3270"/>
                  <a:pt x="3104" y="3271"/>
                  <a:pt x="3108" y="3272"/>
                </a:cubicBezTo>
                <a:lnTo>
                  <a:pt x="3108" y="3272"/>
                </a:lnTo>
                <a:cubicBezTo>
                  <a:pt x="3139" y="3277"/>
                  <a:pt x="3169" y="3283"/>
                  <a:pt x="3200" y="3288"/>
                </a:cubicBezTo>
                <a:lnTo>
                  <a:pt x="3200" y="3288"/>
                </a:lnTo>
                <a:cubicBezTo>
                  <a:pt x="3206" y="3289"/>
                  <a:pt x="3212" y="3291"/>
                  <a:pt x="3218" y="3292"/>
                </a:cubicBezTo>
                <a:lnTo>
                  <a:pt x="3218" y="3292"/>
                </a:lnTo>
                <a:cubicBezTo>
                  <a:pt x="3248" y="3297"/>
                  <a:pt x="3278" y="3302"/>
                  <a:pt x="3309" y="3307"/>
                </a:cubicBezTo>
                <a:lnTo>
                  <a:pt x="3309" y="3307"/>
                </a:lnTo>
                <a:cubicBezTo>
                  <a:pt x="3311" y="3308"/>
                  <a:pt x="3314" y="3308"/>
                  <a:pt x="3317" y="3308"/>
                </a:cubicBezTo>
                <a:lnTo>
                  <a:pt x="3317" y="3308"/>
                </a:lnTo>
                <a:cubicBezTo>
                  <a:pt x="3321" y="3309"/>
                  <a:pt x="3325" y="3310"/>
                  <a:pt x="3329" y="3311"/>
                </a:cubicBezTo>
                <a:lnTo>
                  <a:pt x="3329" y="3311"/>
                </a:lnTo>
                <a:cubicBezTo>
                  <a:pt x="3356" y="3315"/>
                  <a:pt x="3384" y="3319"/>
                  <a:pt x="3411" y="3324"/>
                </a:cubicBezTo>
                <a:lnTo>
                  <a:pt x="3411" y="3324"/>
                </a:lnTo>
                <a:cubicBezTo>
                  <a:pt x="3414" y="3324"/>
                  <a:pt x="3415" y="3325"/>
                  <a:pt x="3417" y="3325"/>
                </a:cubicBezTo>
                <a:lnTo>
                  <a:pt x="3417" y="3325"/>
                </a:lnTo>
                <a:cubicBezTo>
                  <a:pt x="3447" y="3329"/>
                  <a:pt x="3475" y="3334"/>
                  <a:pt x="3505" y="3338"/>
                </a:cubicBezTo>
                <a:lnTo>
                  <a:pt x="3505" y="3338"/>
                </a:lnTo>
                <a:cubicBezTo>
                  <a:pt x="3511" y="3339"/>
                  <a:pt x="3518" y="3340"/>
                  <a:pt x="3525" y="3341"/>
                </a:cubicBezTo>
                <a:lnTo>
                  <a:pt x="3525" y="3341"/>
                </a:lnTo>
                <a:cubicBezTo>
                  <a:pt x="3554" y="3346"/>
                  <a:pt x="3583" y="3350"/>
                  <a:pt x="3612" y="3354"/>
                </a:cubicBezTo>
                <a:lnTo>
                  <a:pt x="3612" y="3354"/>
                </a:lnTo>
                <a:cubicBezTo>
                  <a:pt x="3617" y="3355"/>
                  <a:pt x="3623" y="3355"/>
                  <a:pt x="3627" y="3357"/>
                </a:cubicBezTo>
                <a:lnTo>
                  <a:pt x="3627" y="3357"/>
                </a:lnTo>
                <a:cubicBezTo>
                  <a:pt x="3656" y="3360"/>
                  <a:pt x="3685" y="3364"/>
                  <a:pt x="3713" y="3368"/>
                </a:cubicBezTo>
                <a:lnTo>
                  <a:pt x="3713" y="3368"/>
                </a:lnTo>
                <a:cubicBezTo>
                  <a:pt x="3716" y="3368"/>
                  <a:pt x="3718" y="3369"/>
                  <a:pt x="3720" y="3369"/>
                </a:cubicBezTo>
                <a:lnTo>
                  <a:pt x="3720" y="3369"/>
                </a:lnTo>
                <a:cubicBezTo>
                  <a:pt x="3721" y="3369"/>
                  <a:pt x="3722" y="3369"/>
                  <a:pt x="3723" y="3369"/>
                </a:cubicBezTo>
                <a:lnTo>
                  <a:pt x="3723" y="3369"/>
                </a:lnTo>
                <a:cubicBezTo>
                  <a:pt x="3751" y="3373"/>
                  <a:pt x="3780" y="3377"/>
                  <a:pt x="3809" y="3380"/>
                </a:cubicBezTo>
                <a:lnTo>
                  <a:pt x="3809" y="3380"/>
                </a:lnTo>
                <a:cubicBezTo>
                  <a:pt x="3816" y="3381"/>
                  <a:pt x="3823" y="3382"/>
                  <a:pt x="3829" y="3383"/>
                </a:cubicBezTo>
                <a:lnTo>
                  <a:pt x="3829" y="3383"/>
                </a:lnTo>
                <a:cubicBezTo>
                  <a:pt x="3857" y="3387"/>
                  <a:pt x="3884" y="3389"/>
                  <a:pt x="3911" y="3393"/>
                </a:cubicBezTo>
                <a:lnTo>
                  <a:pt x="3911" y="3393"/>
                </a:lnTo>
                <a:cubicBezTo>
                  <a:pt x="3914" y="3393"/>
                  <a:pt x="3916" y="3393"/>
                  <a:pt x="3918" y="3393"/>
                </a:cubicBezTo>
                <a:lnTo>
                  <a:pt x="3918" y="3393"/>
                </a:lnTo>
                <a:cubicBezTo>
                  <a:pt x="3947" y="3397"/>
                  <a:pt x="3976" y="3400"/>
                  <a:pt x="4006" y="3403"/>
                </a:cubicBezTo>
                <a:lnTo>
                  <a:pt x="4006" y="3403"/>
                </a:lnTo>
                <a:cubicBezTo>
                  <a:pt x="4013" y="3405"/>
                  <a:pt x="4020" y="3405"/>
                  <a:pt x="4028" y="3406"/>
                </a:cubicBezTo>
                <a:lnTo>
                  <a:pt x="4028" y="3406"/>
                </a:lnTo>
                <a:cubicBezTo>
                  <a:pt x="4057" y="3409"/>
                  <a:pt x="4086" y="3412"/>
                  <a:pt x="4116" y="3415"/>
                </a:cubicBezTo>
                <a:lnTo>
                  <a:pt x="4116" y="3415"/>
                </a:lnTo>
                <a:lnTo>
                  <a:pt x="4117" y="3415"/>
                </a:lnTo>
                <a:lnTo>
                  <a:pt x="4117" y="3415"/>
                </a:lnTo>
                <a:cubicBezTo>
                  <a:pt x="4117" y="3415"/>
                  <a:pt x="4117" y="3415"/>
                  <a:pt x="4118" y="3415"/>
                </a:cubicBezTo>
                <a:lnTo>
                  <a:pt x="4118" y="3415"/>
                </a:lnTo>
                <a:cubicBezTo>
                  <a:pt x="4183" y="3422"/>
                  <a:pt x="4248" y="3428"/>
                  <a:pt x="4314" y="3434"/>
                </a:cubicBezTo>
                <a:lnTo>
                  <a:pt x="4315" y="3434"/>
                </a:lnTo>
                <a:lnTo>
                  <a:pt x="4315" y="3434"/>
                </a:lnTo>
                <a:cubicBezTo>
                  <a:pt x="4446" y="3446"/>
                  <a:pt x="4579" y="3455"/>
                  <a:pt x="4714" y="3463"/>
                </a:cubicBezTo>
                <a:lnTo>
                  <a:pt x="4715" y="3463"/>
                </a:lnTo>
                <a:lnTo>
                  <a:pt x="4715" y="3463"/>
                </a:lnTo>
                <a:cubicBezTo>
                  <a:pt x="4782" y="3467"/>
                  <a:pt x="4849" y="3470"/>
                  <a:pt x="4916" y="3473"/>
                </a:cubicBezTo>
                <a:lnTo>
                  <a:pt x="4916" y="3473"/>
                </a:lnTo>
                <a:cubicBezTo>
                  <a:pt x="4918" y="3473"/>
                  <a:pt x="4918" y="3474"/>
                  <a:pt x="4919" y="3474"/>
                </a:cubicBezTo>
                <a:lnTo>
                  <a:pt x="4919" y="3474"/>
                </a:lnTo>
                <a:cubicBezTo>
                  <a:pt x="4950" y="3475"/>
                  <a:pt x="4982" y="3476"/>
                  <a:pt x="5014" y="3478"/>
                </a:cubicBezTo>
                <a:lnTo>
                  <a:pt x="5014" y="3478"/>
                </a:lnTo>
                <a:cubicBezTo>
                  <a:pt x="5021" y="3478"/>
                  <a:pt x="5027" y="3478"/>
                  <a:pt x="5034" y="3479"/>
                </a:cubicBezTo>
                <a:lnTo>
                  <a:pt x="5034" y="3479"/>
                </a:lnTo>
                <a:cubicBezTo>
                  <a:pt x="5065" y="3479"/>
                  <a:pt x="5097" y="3480"/>
                  <a:pt x="5128" y="3481"/>
                </a:cubicBezTo>
                <a:lnTo>
                  <a:pt x="5128" y="3481"/>
                </a:lnTo>
                <a:lnTo>
                  <a:pt x="5129" y="3481"/>
                </a:lnTo>
                <a:lnTo>
                  <a:pt x="5129" y="3481"/>
                </a:lnTo>
                <a:cubicBezTo>
                  <a:pt x="5161" y="3483"/>
                  <a:pt x="5193" y="3483"/>
                  <a:pt x="5225" y="3484"/>
                </a:cubicBezTo>
                <a:lnTo>
                  <a:pt x="5225" y="3484"/>
                </a:lnTo>
                <a:cubicBezTo>
                  <a:pt x="5232" y="3484"/>
                  <a:pt x="5239" y="3484"/>
                  <a:pt x="5245" y="3484"/>
                </a:cubicBezTo>
                <a:lnTo>
                  <a:pt x="5245" y="3484"/>
                </a:lnTo>
                <a:cubicBezTo>
                  <a:pt x="5301" y="3486"/>
                  <a:pt x="5357" y="3487"/>
                  <a:pt x="5413" y="3488"/>
                </a:cubicBezTo>
                <a:lnTo>
                  <a:pt x="5413" y="3488"/>
                </a:lnTo>
                <a:cubicBezTo>
                  <a:pt x="5474" y="3489"/>
                  <a:pt x="5534" y="3489"/>
                  <a:pt x="5593" y="3489"/>
                </a:cubicBezTo>
                <a:lnTo>
                  <a:pt x="5606" y="3489"/>
                </a:lnTo>
                <a:lnTo>
                  <a:pt x="5606" y="3489"/>
                </a:lnTo>
                <a:cubicBezTo>
                  <a:pt x="5666" y="3489"/>
                  <a:pt x="5726" y="3489"/>
                  <a:pt x="5785" y="3488"/>
                </a:cubicBezTo>
                <a:lnTo>
                  <a:pt x="5786" y="3488"/>
                </a:lnTo>
                <a:lnTo>
                  <a:pt x="5786" y="3488"/>
                </a:lnTo>
                <a:cubicBezTo>
                  <a:pt x="5787" y="3488"/>
                  <a:pt x="5787" y="3488"/>
                  <a:pt x="5788" y="3488"/>
                </a:cubicBezTo>
                <a:lnTo>
                  <a:pt x="5788" y="3488"/>
                </a:lnTo>
                <a:cubicBezTo>
                  <a:pt x="5824" y="3488"/>
                  <a:pt x="5858" y="3487"/>
                  <a:pt x="5893" y="3486"/>
                </a:cubicBezTo>
                <a:lnTo>
                  <a:pt x="5893" y="3486"/>
                </a:lnTo>
                <a:cubicBezTo>
                  <a:pt x="5899" y="3486"/>
                  <a:pt x="5905" y="3486"/>
                  <a:pt x="5911" y="3486"/>
                </a:cubicBezTo>
                <a:lnTo>
                  <a:pt x="5911" y="3486"/>
                </a:lnTo>
                <a:cubicBezTo>
                  <a:pt x="5945" y="3485"/>
                  <a:pt x="5980" y="3484"/>
                  <a:pt x="6014" y="3483"/>
                </a:cubicBezTo>
                <a:lnTo>
                  <a:pt x="6014" y="3483"/>
                </a:lnTo>
                <a:cubicBezTo>
                  <a:pt x="6021" y="3483"/>
                  <a:pt x="6027" y="3483"/>
                  <a:pt x="6033" y="3483"/>
                </a:cubicBezTo>
                <a:lnTo>
                  <a:pt x="6033" y="3483"/>
                </a:lnTo>
                <a:cubicBezTo>
                  <a:pt x="6067" y="3481"/>
                  <a:pt x="6101" y="3480"/>
                  <a:pt x="6135" y="3479"/>
                </a:cubicBezTo>
                <a:lnTo>
                  <a:pt x="6135" y="3479"/>
                </a:lnTo>
                <a:cubicBezTo>
                  <a:pt x="6137" y="3479"/>
                  <a:pt x="6138" y="3479"/>
                  <a:pt x="6140" y="3479"/>
                </a:cubicBezTo>
                <a:lnTo>
                  <a:pt x="6140" y="3479"/>
                </a:lnTo>
                <a:cubicBezTo>
                  <a:pt x="6175" y="3478"/>
                  <a:pt x="6210" y="3477"/>
                  <a:pt x="6245" y="3475"/>
                </a:cubicBezTo>
                <a:lnTo>
                  <a:pt x="6245" y="3475"/>
                </a:lnTo>
                <a:cubicBezTo>
                  <a:pt x="6249" y="3475"/>
                  <a:pt x="6252" y="3475"/>
                  <a:pt x="6255" y="3474"/>
                </a:cubicBezTo>
                <a:lnTo>
                  <a:pt x="6255" y="3474"/>
                </a:lnTo>
                <a:cubicBezTo>
                  <a:pt x="6258" y="3474"/>
                  <a:pt x="6261" y="3474"/>
                  <a:pt x="6264" y="3474"/>
                </a:cubicBezTo>
                <a:lnTo>
                  <a:pt x="6264" y="3474"/>
                </a:lnTo>
                <a:cubicBezTo>
                  <a:pt x="6302" y="3473"/>
                  <a:pt x="6340" y="3471"/>
                  <a:pt x="6379" y="3469"/>
                </a:cubicBezTo>
                <a:lnTo>
                  <a:pt x="6379" y="3469"/>
                </a:lnTo>
                <a:cubicBezTo>
                  <a:pt x="6385" y="3469"/>
                  <a:pt x="6390" y="3468"/>
                  <a:pt x="6396" y="3468"/>
                </a:cubicBezTo>
                <a:lnTo>
                  <a:pt x="6396" y="3468"/>
                </a:lnTo>
                <a:cubicBezTo>
                  <a:pt x="6435" y="3466"/>
                  <a:pt x="6473" y="3464"/>
                  <a:pt x="6511" y="3462"/>
                </a:cubicBezTo>
                <a:lnTo>
                  <a:pt x="6511" y="3462"/>
                </a:lnTo>
                <a:cubicBezTo>
                  <a:pt x="6516" y="3461"/>
                  <a:pt x="6520" y="3461"/>
                  <a:pt x="6524" y="3460"/>
                </a:cubicBezTo>
                <a:lnTo>
                  <a:pt x="6524" y="3460"/>
                </a:lnTo>
                <a:cubicBezTo>
                  <a:pt x="6606" y="3456"/>
                  <a:pt x="6688" y="3450"/>
                  <a:pt x="6769" y="3443"/>
                </a:cubicBezTo>
                <a:lnTo>
                  <a:pt x="6769" y="3443"/>
                </a:lnTo>
                <a:cubicBezTo>
                  <a:pt x="6770" y="3443"/>
                  <a:pt x="6772" y="3443"/>
                  <a:pt x="6772" y="3443"/>
                </a:cubicBezTo>
                <a:lnTo>
                  <a:pt x="6772" y="3443"/>
                </a:lnTo>
                <a:cubicBezTo>
                  <a:pt x="6773" y="3443"/>
                  <a:pt x="6774" y="3443"/>
                  <a:pt x="6775" y="3443"/>
                </a:cubicBezTo>
                <a:lnTo>
                  <a:pt x="6775" y="3443"/>
                </a:lnTo>
                <a:cubicBezTo>
                  <a:pt x="6828" y="3439"/>
                  <a:pt x="6881" y="3435"/>
                  <a:pt x="6934" y="3430"/>
                </a:cubicBezTo>
                <a:lnTo>
                  <a:pt x="6934" y="3430"/>
                </a:lnTo>
                <a:cubicBezTo>
                  <a:pt x="6936" y="3429"/>
                  <a:pt x="6940" y="3429"/>
                  <a:pt x="6943" y="3429"/>
                </a:cubicBezTo>
                <a:lnTo>
                  <a:pt x="6943" y="3429"/>
                </a:lnTo>
                <a:cubicBezTo>
                  <a:pt x="6994" y="3425"/>
                  <a:pt x="7044" y="3419"/>
                  <a:pt x="7094" y="3415"/>
                </a:cubicBezTo>
                <a:lnTo>
                  <a:pt x="7094" y="3415"/>
                </a:lnTo>
                <a:cubicBezTo>
                  <a:pt x="7098" y="3414"/>
                  <a:pt x="7102" y="3413"/>
                  <a:pt x="7106" y="3413"/>
                </a:cubicBezTo>
                <a:lnTo>
                  <a:pt x="7106" y="3413"/>
                </a:lnTo>
                <a:cubicBezTo>
                  <a:pt x="7211" y="3403"/>
                  <a:pt x="7315" y="3390"/>
                  <a:pt x="7418" y="3378"/>
                </a:cubicBezTo>
                <a:lnTo>
                  <a:pt x="7418" y="3378"/>
                </a:lnTo>
                <a:cubicBezTo>
                  <a:pt x="7419" y="3378"/>
                  <a:pt x="7421" y="3378"/>
                  <a:pt x="7422" y="3378"/>
                </a:cubicBezTo>
                <a:lnTo>
                  <a:pt x="7422" y="3378"/>
                </a:lnTo>
                <a:cubicBezTo>
                  <a:pt x="7425" y="3377"/>
                  <a:pt x="7429" y="3377"/>
                  <a:pt x="7432" y="3376"/>
                </a:cubicBezTo>
                <a:lnTo>
                  <a:pt x="7432" y="3376"/>
                </a:lnTo>
                <a:cubicBezTo>
                  <a:pt x="7456" y="3373"/>
                  <a:pt x="7480" y="3370"/>
                  <a:pt x="7503" y="3367"/>
                </a:cubicBezTo>
                <a:lnTo>
                  <a:pt x="7503" y="3367"/>
                </a:lnTo>
                <a:cubicBezTo>
                  <a:pt x="7508" y="3367"/>
                  <a:pt x="7513" y="3365"/>
                  <a:pt x="7519" y="3365"/>
                </a:cubicBezTo>
                <a:lnTo>
                  <a:pt x="7519" y="3365"/>
                </a:lnTo>
                <a:cubicBezTo>
                  <a:pt x="7547" y="3361"/>
                  <a:pt x="7575" y="3357"/>
                  <a:pt x="7603" y="3353"/>
                </a:cubicBezTo>
                <a:lnTo>
                  <a:pt x="7603" y="3353"/>
                </a:lnTo>
                <a:cubicBezTo>
                  <a:pt x="7605" y="3353"/>
                  <a:pt x="7607" y="3353"/>
                  <a:pt x="7610" y="3352"/>
                </a:cubicBezTo>
                <a:lnTo>
                  <a:pt x="7610" y="3352"/>
                </a:lnTo>
                <a:cubicBezTo>
                  <a:pt x="7635" y="3349"/>
                  <a:pt x="7660" y="3345"/>
                  <a:pt x="7685" y="3342"/>
                </a:cubicBezTo>
                <a:lnTo>
                  <a:pt x="7685" y="3342"/>
                </a:lnTo>
                <a:cubicBezTo>
                  <a:pt x="7692" y="3340"/>
                  <a:pt x="7698" y="3340"/>
                  <a:pt x="7705" y="3339"/>
                </a:cubicBezTo>
                <a:lnTo>
                  <a:pt x="7705" y="3339"/>
                </a:lnTo>
                <a:cubicBezTo>
                  <a:pt x="7729" y="3335"/>
                  <a:pt x="7752" y="3332"/>
                  <a:pt x="7776" y="3328"/>
                </a:cubicBezTo>
                <a:lnTo>
                  <a:pt x="7776" y="3328"/>
                </a:lnTo>
                <a:cubicBezTo>
                  <a:pt x="7780" y="3328"/>
                  <a:pt x="7784" y="3327"/>
                  <a:pt x="7787" y="3327"/>
                </a:cubicBezTo>
                <a:lnTo>
                  <a:pt x="7787" y="3327"/>
                </a:lnTo>
                <a:cubicBezTo>
                  <a:pt x="7814" y="3322"/>
                  <a:pt x="7841" y="3318"/>
                  <a:pt x="7869" y="3314"/>
                </a:cubicBezTo>
                <a:lnTo>
                  <a:pt x="7869" y="3314"/>
                </a:lnTo>
                <a:cubicBezTo>
                  <a:pt x="7873" y="3313"/>
                  <a:pt x="7879" y="3312"/>
                  <a:pt x="7884" y="3311"/>
                </a:cubicBezTo>
                <a:lnTo>
                  <a:pt x="7884" y="3311"/>
                </a:lnTo>
                <a:cubicBezTo>
                  <a:pt x="7906" y="3308"/>
                  <a:pt x="7928" y="3304"/>
                  <a:pt x="7950" y="3300"/>
                </a:cubicBezTo>
                <a:lnTo>
                  <a:pt x="7950" y="3300"/>
                </a:lnTo>
                <a:cubicBezTo>
                  <a:pt x="7957" y="3299"/>
                  <a:pt x="7963" y="3298"/>
                  <a:pt x="7970" y="3297"/>
                </a:cubicBezTo>
                <a:lnTo>
                  <a:pt x="7970" y="3297"/>
                </a:lnTo>
                <a:cubicBezTo>
                  <a:pt x="8023" y="3288"/>
                  <a:pt x="8076" y="3278"/>
                  <a:pt x="8128" y="3269"/>
                </a:cubicBezTo>
                <a:lnTo>
                  <a:pt x="8128" y="3269"/>
                </a:lnTo>
                <a:cubicBezTo>
                  <a:pt x="8135" y="3268"/>
                  <a:pt x="8140" y="3267"/>
                  <a:pt x="8147" y="3266"/>
                </a:cubicBezTo>
                <a:lnTo>
                  <a:pt x="8147" y="3266"/>
                </a:lnTo>
                <a:cubicBezTo>
                  <a:pt x="8168" y="3261"/>
                  <a:pt x="8189" y="3258"/>
                  <a:pt x="8210" y="3254"/>
                </a:cubicBezTo>
                <a:lnTo>
                  <a:pt x="8210" y="3254"/>
                </a:lnTo>
                <a:cubicBezTo>
                  <a:pt x="8216" y="3252"/>
                  <a:pt x="8222" y="3251"/>
                  <a:pt x="8228" y="3250"/>
                </a:cubicBezTo>
                <a:lnTo>
                  <a:pt x="8228" y="3250"/>
                </a:lnTo>
                <a:cubicBezTo>
                  <a:pt x="8253" y="3246"/>
                  <a:pt x="8279" y="3240"/>
                  <a:pt x="8305" y="3236"/>
                </a:cubicBezTo>
                <a:lnTo>
                  <a:pt x="8305" y="3236"/>
                </a:lnTo>
                <a:cubicBezTo>
                  <a:pt x="8308" y="3235"/>
                  <a:pt x="8310" y="3234"/>
                  <a:pt x="8313" y="3234"/>
                </a:cubicBezTo>
                <a:lnTo>
                  <a:pt x="8313" y="3234"/>
                </a:lnTo>
                <a:cubicBezTo>
                  <a:pt x="8336" y="3229"/>
                  <a:pt x="8359" y="3224"/>
                  <a:pt x="8381" y="3219"/>
                </a:cubicBezTo>
                <a:lnTo>
                  <a:pt x="8381" y="3219"/>
                </a:lnTo>
                <a:cubicBezTo>
                  <a:pt x="8389" y="3218"/>
                  <a:pt x="8395" y="3217"/>
                  <a:pt x="8401" y="3216"/>
                </a:cubicBezTo>
                <a:lnTo>
                  <a:pt x="8401" y="3216"/>
                </a:lnTo>
                <a:cubicBezTo>
                  <a:pt x="8422" y="3211"/>
                  <a:pt x="8444" y="3207"/>
                  <a:pt x="8465" y="3202"/>
                </a:cubicBezTo>
                <a:lnTo>
                  <a:pt x="8465" y="3202"/>
                </a:lnTo>
                <a:cubicBezTo>
                  <a:pt x="8470" y="3201"/>
                  <a:pt x="8474" y="3200"/>
                  <a:pt x="8478" y="3199"/>
                </a:cubicBezTo>
                <a:lnTo>
                  <a:pt x="8478" y="3199"/>
                </a:lnTo>
                <a:cubicBezTo>
                  <a:pt x="8503" y="3194"/>
                  <a:pt x="8528" y="3188"/>
                  <a:pt x="8553" y="3183"/>
                </a:cubicBezTo>
                <a:lnTo>
                  <a:pt x="8553" y="3183"/>
                </a:lnTo>
                <a:cubicBezTo>
                  <a:pt x="8558" y="3182"/>
                  <a:pt x="8563" y="3181"/>
                  <a:pt x="8568" y="3180"/>
                </a:cubicBezTo>
                <a:lnTo>
                  <a:pt x="8568" y="3180"/>
                </a:lnTo>
                <a:cubicBezTo>
                  <a:pt x="8589" y="3175"/>
                  <a:pt x="8609" y="3170"/>
                  <a:pt x="8629" y="3166"/>
                </a:cubicBezTo>
                <a:lnTo>
                  <a:pt x="8629" y="3166"/>
                </a:lnTo>
                <a:cubicBezTo>
                  <a:pt x="8635" y="3164"/>
                  <a:pt x="8642" y="3163"/>
                  <a:pt x="8647" y="3161"/>
                </a:cubicBezTo>
                <a:lnTo>
                  <a:pt x="8647" y="3161"/>
                </a:lnTo>
                <a:cubicBezTo>
                  <a:pt x="8672" y="3156"/>
                  <a:pt x="8696" y="3150"/>
                  <a:pt x="8720" y="3144"/>
                </a:cubicBezTo>
                <a:lnTo>
                  <a:pt x="8720" y="3144"/>
                </a:lnTo>
                <a:cubicBezTo>
                  <a:pt x="8720" y="3144"/>
                  <a:pt x="8720" y="3144"/>
                  <a:pt x="8721" y="3144"/>
                </a:cubicBezTo>
                <a:lnTo>
                  <a:pt x="8721" y="3144"/>
                </a:lnTo>
                <a:cubicBezTo>
                  <a:pt x="8746" y="3138"/>
                  <a:pt x="8770" y="3133"/>
                  <a:pt x="8794" y="3126"/>
                </a:cubicBezTo>
                <a:lnTo>
                  <a:pt x="8794" y="3126"/>
                </a:lnTo>
                <a:cubicBezTo>
                  <a:pt x="8800" y="3125"/>
                  <a:pt x="8806" y="3123"/>
                  <a:pt x="8812" y="3122"/>
                </a:cubicBezTo>
                <a:lnTo>
                  <a:pt x="8812" y="3122"/>
                </a:lnTo>
                <a:cubicBezTo>
                  <a:pt x="8831" y="3117"/>
                  <a:pt x="8850" y="3112"/>
                  <a:pt x="8869" y="3107"/>
                </a:cubicBezTo>
                <a:lnTo>
                  <a:pt x="8869" y="3107"/>
                </a:lnTo>
                <a:cubicBezTo>
                  <a:pt x="8875" y="3106"/>
                  <a:pt x="8880" y="3105"/>
                  <a:pt x="8886" y="3103"/>
                </a:cubicBezTo>
                <a:lnTo>
                  <a:pt x="8886" y="3103"/>
                </a:lnTo>
                <a:cubicBezTo>
                  <a:pt x="8910" y="3097"/>
                  <a:pt x="8934" y="3090"/>
                  <a:pt x="8958" y="3085"/>
                </a:cubicBezTo>
                <a:lnTo>
                  <a:pt x="8958" y="3085"/>
                </a:lnTo>
                <a:cubicBezTo>
                  <a:pt x="8960" y="3084"/>
                  <a:pt x="8962" y="3083"/>
                  <a:pt x="8964" y="3083"/>
                </a:cubicBezTo>
                <a:lnTo>
                  <a:pt x="8964" y="3083"/>
                </a:lnTo>
                <a:cubicBezTo>
                  <a:pt x="8985" y="3077"/>
                  <a:pt x="9007" y="3071"/>
                  <a:pt x="9028" y="3065"/>
                </a:cubicBezTo>
                <a:lnTo>
                  <a:pt x="9028" y="3065"/>
                </a:lnTo>
                <a:cubicBezTo>
                  <a:pt x="9034" y="3063"/>
                  <a:pt x="9040" y="3062"/>
                  <a:pt x="9046" y="3060"/>
                </a:cubicBezTo>
                <a:lnTo>
                  <a:pt x="9046" y="3060"/>
                </a:lnTo>
                <a:cubicBezTo>
                  <a:pt x="9066" y="3055"/>
                  <a:pt x="9085" y="3049"/>
                  <a:pt x="9104" y="3044"/>
                </a:cubicBezTo>
                <a:lnTo>
                  <a:pt x="9104" y="3044"/>
                </a:lnTo>
                <a:cubicBezTo>
                  <a:pt x="9108" y="3043"/>
                  <a:pt x="9112" y="3042"/>
                  <a:pt x="9116" y="3040"/>
                </a:cubicBezTo>
                <a:lnTo>
                  <a:pt x="9116" y="3040"/>
                </a:lnTo>
                <a:cubicBezTo>
                  <a:pt x="9140" y="3034"/>
                  <a:pt x="9162" y="3027"/>
                  <a:pt x="9185" y="3021"/>
                </a:cubicBezTo>
                <a:lnTo>
                  <a:pt x="9185" y="3021"/>
                </a:lnTo>
                <a:cubicBezTo>
                  <a:pt x="9190" y="3019"/>
                  <a:pt x="9194" y="3018"/>
                  <a:pt x="9198" y="3017"/>
                </a:cubicBezTo>
                <a:lnTo>
                  <a:pt x="9198" y="3017"/>
                </a:lnTo>
                <a:cubicBezTo>
                  <a:pt x="9217" y="3011"/>
                  <a:pt x="9235" y="3006"/>
                  <a:pt x="9254" y="3000"/>
                </a:cubicBezTo>
                <a:lnTo>
                  <a:pt x="9254" y="3000"/>
                </a:lnTo>
                <a:cubicBezTo>
                  <a:pt x="9260" y="2998"/>
                  <a:pt x="9266" y="2996"/>
                  <a:pt x="9271" y="2995"/>
                </a:cubicBezTo>
                <a:lnTo>
                  <a:pt x="9271" y="2995"/>
                </a:lnTo>
                <a:cubicBezTo>
                  <a:pt x="9293" y="2988"/>
                  <a:pt x="9314" y="2982"/>
                  <a:pt x="9335" y="2975"/>
                </a:cubicBezTo>
                <a:lnTo>
                  <a:pt x="9335" y="2975"/>
                </a:lnTo>
                <a:cubicBezTo>
                  <a:pt x="9336" y="2975"/>
                  <a:pt x="9337" y="2975"/>
                  <a:pt x="9338" y="2974"/>
                </a:cubicBezTo>
                <a:lnTo>
                  <a:pt x="9338" y="2974"/>
                </a:lnTo>
                <a:cubicBezTo>
                  <a:pt x="9361" y="2967"/>
                  <a:pt x="9382" y="2960"/>
                  <a:pt x="9404" y="2953"/>
                </a:cubicBezTo>
                <a:lnTo>
                  <a:pt x="9404" y="2953"/>
                </a:lnTo>
                <a:cubicBezTo>
                  <a:pt x="9410" y="2951"/>
                  <a:pt x="9415" y="2949"/>
                  <a:pt x="9420" y="2948"/>
                </a:cubicBezTo>
                <a:lnTo>
                  <a:pt x="9420" y="2948"/>
                </a:lnTo>
                <a:cubicBezTo>
                  <a:pt x="9438" y="2942"/>
                  <a:pt x="9455" y="2936"/>
                  <a:pt x="9473" y="2931"/>
                </a:cubicBezTo>
                <a:lnTo>
                  <a:pt x="9473" y="2931"/>
                </a:lnTo>
                <a:cubicBezTo>
                  <a:pt x="9477" y="2929"/>
                  <a:pt x="9483" y="2927"/>
                  <a:pt x="9488" y="2925"/>
                </a:cubicBezTo>
                <a:lnTo>
                  <a:pt x="9488" y="2925"/>
                </a:lnTo>
                <a:cubicBezTo>
                  <a:pt x="9510" y="2918"/>
                  <a:pt x="9531" y="2911"/>
                  <a:pt x="9552" y="2904"/>
                </a:cubicBezTo>
                <a:lnTo>
                  <a:pt x="9552" y="2904"/>
                </a:lnTo>
                <a:cubicBezTo>
                  <a:pt x="9554" y="2903"/>
                  <a:pt x="9555" y="2902"/>
                  <a:pt x="9557" y="2902"/>
                </a:cubicBezTo>
                <a:lnTo>
                  <a:pt x="9557" y="2902"/>
                </a:lnTo>
                <a:cubicBezTo>
                  <a:pt x="9577" y="2895"/>
                  <a:pt x="9596" y="2888"/>
                  <a:pt x="9615" y="2881"/>
                </a:cubicBezTo>
                <a:lnTo>
                  <a:pt x="9615" y="2881"/>
                </a:lnTo>
                <a:cubicBezTo>
                  <a:pt x="9621" y="2880"/>
                  <a:pt x="9626" y="2878"/>
                  <a:pt x="9632" y="2875"/>
                </a:cubicBezTo>
                <a:lnTo>
                  <a:pt x="9632" y="2875"/>
                </a:lnTo>
                <a:cubicBezTo>
                  <a:pt x="9649" y="2870"/>
                  <a:pt x="9666" y="2863"/>
                  <a:pt x="9684" y="2857"/>
                </a:cubicBezTo>
                <a:lnTo>
                  <a:pt x="9684" y="2857"/>
                </a:lnTo>
                <a:cubicBezTo>
                  <a:pt x="9688" y="2855"/>
                  <a:pt x="9691" y="2854"/>
                  <a:pt x="9695" y="2853"/>
                </a:cubicBezTo>
                <a:lnTo>
                  <a:pt x="9695" y="2853"/>
                </a:lnTo>
                <a:cubicBezTo>
                  <a:pt x="9715" y="2845"/>
                  <a:pt x="9736" y="2837"/>
                  <a:pt x="9756" y="2830"/>
                </a:cubicBezTo>
                <a:lnTo>
                  <a:pt x="9756" y="2830"/>
                </a:lnTo>
                <a:cubicBezTo>
                  <a:pt x="9760" y="2828"/>
                  <a:pt x="9764" y="2827"/>
                  <a:pt x="9767" y="2825"/>
                </a:cubicBezTo>
                <a:lnTo>
                  <a:pt x="9767" y="2825"/>
                </a:lnTo>
                <a:cubicBezTo>
                  <a:pt x="9785" y="2819"/>
                  <a:pt x="9801" y="2813"/>
                  <a:pt x="9817" y="2805"/>
                </a:cubicBezTo>
                <a:lnTo>
                  <a:pt x="9817" y="2805"/>
                </a:lnTo>
                <a:cubicBezTo>
                  <a:pt x="9823" y="2804"/>
                  <a:pt x="9828" y="2802"/>
                  <a:pt x="9833" y="2800"/>
                </a:cubicBezTo>
                <a:lnTo>
                  <a:pt x="9833" y="2800"/>
                </a:lnTo>
                <a:cubicBezTo>
                  <a:pt x="9851" y="2793"/>
                  <a:pt x="9870" y="2785"/>
                  <a:pt x="9888" y="2777"/>
                </a:cubicBezTo>
                <a:lnTo>
                  <a:pt x="9888" y="2777"/>
                </a:lnTo>
                <a:cubicBezTo>
                  <a:pt x="9890" y="2777"/>
                  <a:pt x="9891" y="2777"/>
                  <a:pt x="9892" y="2776"/>
                </a:cubicBezTo>
                <a:lnTo>
                  <a:pt x="9892" y="2776"/>
                </a:lnTo>
                <a:cubicBezTo>
                  <a:pt x="9912" y="2768"/>
                  <a:pt x="9932" y="2760"/>
                  <a:pt x="9951" y="2751"/>
                </a:cubicBezTo>
                <a:lnTo>
                  <a:pt x="9951" y="2751"/>
                </a:lnTo>
                <a:cubicBezTo>
                  <a:pt x="9953" y="2751"/>
                  <a:pt x="9954" y="2750"/>
                  <a:pt x="9956" y="2750"/>
                </a:cubicBezTo>
                <a:lnTo>
                  <a:pt x="9956" y="2750"/>
                </a:lnTo>
                <a:cubicBezTo>
                  <a:pt x="9960" y="2749"/>
                  <a:pt x="9962" y="2747"/>
                  <a:pt x="9966" y="2746"/>
                </a:cubicBezTo>
                <a:lnTo>
                  <a:pt x="9966" y="2746"/>
                </a:lnTo>
                <a:cubicBezTo>
                  <a:pt x="9979" y="2740"/>
                  <a:pt x="9992" y="2734"/>
                  <a:pt x="10005" y="2729"/>
                </a:cubicBezTo>
                <a:lnTo>
                  <a:pt x="10005" y="2729"/>
                </a:lnTo>
                <a:cubicBezTo>
                  <a:pt x="10011" y="2726"/>
                  <a:pt x="10016" y="2724"/>
                  <a:pt x="10022" y="2721"/>
                </a:cubicBezTo>
                <a:lnTo>
                  <a:pt x="10022" y="2721"/>
                </a:lnTo>
                <a:cubicBezTo>
                  <a:pt x="10035" y="2716"/>
                  <a:pt x="10049" y="2710"/>
                  <a:pt x="10063" y="2704"/>
                </a:cubicBezTo>
                <a:lnTo>
                  <a:pt x="10063" y="2704"/>
                </a:lnTo>
                <a:cubicBezTo>
                  <a:pt x="10066" y="2702"/>
                  <a:pt x="10071" y="2700"/>
                  <a:pt x="10074" y="2699"/>
                </a:cubicBezTo>
                <a:lnTo>
                  <a:pt x="10074" y="2699"/>
                </a:lnTo>
                <a:cubicBezTo>
                  <a:pt x="10092" y="2690"/>
                  <a:pt x="10109" y="2683"/>
                  <a:pt x="10127" y="2675"/>
                </a:cubicBezTo>
                <a:lnTo>
                  <a:pt x="10127" y="2675"/>
                </a:lnTo>
                <a:cubicBezTo>
                  <a:pt x="10130" y="2673"/>
                  <a:pt x="10133" y="2672"/>
                  <a:pt x="10136" y="2670"/>
                </a:cubicBezTo>
                <a:lnTo>
                  <a:pt x="10136" y="2670"/>
                </a:lnTo>
                <a:cubicBezTo>
                  <a:pt x="10151" y="2664"/>
                  <a:pt x="10164" y="2658"/>
                  <a:pt x="10177" y="2651"/>
                </a:cubicBezTo>
                <a:lnTo>
                  <a:pt x="10177" y="2651"/>
                </a:lnTo>
                <a:cubicBezTo>
                  <a:pt x="10183" y="2649"/>
                  <a:pt x="10188" y="2646"/>
                  <a:pt x="10194" y="2643"/>
                </a:cubicBezTo>
                <a:lnTo>
                  <a:pt x="10194" y="2643"/>
                </a:lnTo>
                <a:cubicBezTo>
                  <a:pt x="10205" y="2638"/>
                  <a:pt x="10217" y="2632"/>
                  <a:pt x="10229" y="2626"/>
                </a:cubicBezTo>
                <a:lnTo>
                  <a:pt x="10229" y="2626"/>
                </a:lnTo>
                <a:cubicBezTo>
                  <a:pt x="10234" y="2624"/>
                  <a:pt x="10239" y="2622"/>
                  <a:pt x="10244" y="2619"/>
                </a:cubicBezTo>
                <a:lnTo>
                  <a:pt x="10244" y="2619"/>
                </a:lnTo>
                <a:cubicBezTo>
                  <a:pt x="10258" y="2612"/>
                  <a:pt x="10272" y="2606"/>
                  <a:pt x="10285" y="2599"/>
                </a:cubicBezTo>
                <a:lnTo>
                  <a:pt x="10285" y="2599"/>
                </a:lnTo>
                <a:cubicBezTo>
                  <a:pt x="10288" y="2598"/>
                  <a:pt x="10291" y="2597"/>
                  <a:pt x="10294" y="2595"/>
                </a:cubicBezTo>
                <a:lnTo>
                  <a:pt x="10294" y="2595"/>
                </a:lnTo>
                <a:cubicBezTo>
                  <a:pt x="10310" y="2587"/>
                  <a:pt x="10326" y="2578"/>
                  <a:pt x="10342" y="2570"/>
                </a:cubicBezTo>
                <a:lnTo>
                  <a:pt x="10342" y="2570"/>
                </a:lnTo>
                <a:cubicBezTo>
                  <a:pt x="10345" y="2568"/>
                  <a:pt x="10349" y="2567"/>
                  <a:pt x="10353" y="2564"/>
                </a:cubicBezTo>
                <a:lnTo>
                  <a:pt x="10353" y="2564"/>
                </a:lnTo>
                <a:cubicBezTo>
                  <a:pt x="10365" y="2558"/>
                  <a:pt x="10377" y="2552"/>
                  <a:pt x="10389" y="2545"/>
                </a:cubicBezTo>
                <a:lnTo>
                  <a:pt x="10389" y="2545"/>
                </a:lnTo>
                <a:cubicBezTo>
                  <a:pt x="10392" y="2544"/>
                  <a:pt x="10394" y="2543"/>
                  <a:pt x="10396" y="2542"/>
                </a:cubicBezTo>
                <a:lnTo>
                  <a:pt x="10396" y="2542"/>
                </a:lnTo>
                <a:cubicBezTo>
                  <a:pt x="10398" y="2541"/>
                  <a:pt x="10399" y="2540"/>
                  <a:pt x="10401" y="2539"/>
                </a:cubicBezTo>
                <a:lnTo>
                  <a:pt x="10401" y="2539"/>
                </a:lnTo>
                <a:cubicBezTo>
                  <a:pt x="10424" y="2527"/>
                  <a:pt x="10447" y="2514"/>
                  <a:pt x="10470" y="2501"/>
                </a:cubicBezTo>
                <a:lnTo>
                  <a:pt x="10470" y="2501"/>
                </a:lnTo>
                <a:cubicBezTo>
                  <a:pt x="10473" y="2499"/>
                  <a:pt x="10476" y="2498"/>
                  <a:pt x="10479" y="2496"/>
                </a:cubicBezTo>
                <a:lnTo>
                  <a:pt x="10479" y="2496"/>
                </a:lnTo>
                <a:cubicBezTo>
                  <a:pt x="10501" y="2484"/>
                  <a:pt x="10523" y="2471"/>
                  <a:pt x="10545" y="2458"/>
                </a:cubicBezTo>
                <a:lnTo>
                  <a:pt x="10545" y="2458"/>
                </a:lnTo>
                <a:cubicBezTo>
                  <a:pt x="10548" y="2456"/>
                  <a:pt x="10551" y="2454"/>
                  <a:pt x="10554" y="2453"/>
                </a:cubicBezTo>
                <a:lnTo>
                  <a:pt x="10554" y="2453"/>
                </a:lnTo>
                <a:cubicBezTo>
                  <a:pt x="10576" y="2439"/>
                  <a:pt x="10597" y="2427"/>
                  <a:pt x="10618" y="2414"/>
                </a:cubicBezTo>
                <a:lnTo>
                  <a:pt x="10618" y="2414"/>
                </a:lnTo>
                <a:cubicBezTo>
                  <a:pt x="10621" y="2412"/>
                  <a:pt x="10624" y="2410"/>
                  <a:pt x="10627" y="2408"/>
                </a:cubicBezTo>
                <a:lnTo>
                  <a:pt x="10627" y="2408"/>
                </a:lnTo>
                <a:cubicBezTo>
                  <a:pt x="10648" y="2395"/>
                  <a:pt x="10668" y="2382"/>
                  <a:pt x="10688" y="2368"/>
                </a:cubicBezTo>
                <a:lnTo>
                  <a:pt x="10688" y="2368"/>
                </a:lnTo>
                <a:cubicBezTo>
                  <a:pt x="10690" y="2368"/>
                  <a:pt x="10691" y="2367"/>
                  <a:pt x="10692" y="2367"/>
                </a:cubicBezTo>
                <a:lnTo>
                  <a:pt x="10692" y="2367"/>
                </a:lnTo>
                <a:cubicBezTo>
                  <a:pt x="10694" y="2365"/>
                  <a:pt x="10695" y="2364"/>
                  <a:pt x="10698" y="2363"/>
                </a:cubicBezTo>
                <a:lnTo>
                  <a:pt x="10698" y="2363"/>
                </a:lnTo>
                <a:cubicBezTo>
                  <a:pt x="10715" y="2351"/>
                  <a:pt x="10733" y="2339"/>
                  <a:pt x="10750" y="2327"/>
                </a:cubicBezTo>
                <a:lnTo>
                  <a:pt x="10750" y="2327"/>
                </a:lnTo>
                <a:cubicBezTo>
                  <a:pt x="10751" y="2327"/>
                  <a:pt x="10751" y="2327"/>
                  <a:pt x="10752" y="2326"/>
                </a:cubicBezTo>
                <a:lnTo>
                  <a:pt x="10752" y="2326"/>
                </a:lnTo>
                <a:cubicBezTo>
                  <a:pt x="10769" y="2315"/>
                  <a:pt x="10785" y="2303"/>
                  <a:pt x="10802" y="2291"/>
                </a:cubicBezTo>
                <a:lnTo>
                  <a:pt x="10802" y="2291"/>
                </a:lnTo>
                <a:cubicBezTo>
                  <a:pt x="10805" y="2289"/>
                  <a:pt x="10807" y="2287"/>
                  <a:pt x="10810" y="2285"/>
                </a:cubicBezTo>
                <a:lnTo>
                  <a:pt x="10810" y="2285"/>
                </a:lnTo>
                <a:cubicBezTo>
                  <a:pt x="10826" y="2273"/>
                  <a:pt x="10842" y="2262"/>
                  <a:pt x="10857" y="2250"/>
                </a:cubicBezTo>
                <a:lnTo>
                  <a:pt x="10857" y="2250"/>
                </a:lnTo>
                <a:cubicBezTo>
                  <a:pt x="10860" y="2247"/>
                  <a:pt x="10863" y="2245"/>
                  <a:pt x="10866" y="2243"/>
                </a:cubicBezTo>
                <a:lnTo>
                  <a:pt x="10866" y="2243"/>
                </a:lnTo>
                <a:cubicBezTo>
                  <a:pt x="10882" y="2231"/>
                  <a:pt x="10897" y="2219"/>
                  <a:pt x="10912" y="2207"/>
                </a:cubicBezTo>
                <a:lnTo>
                  <a:pt x="10912" y="2207"/>
                </a:lnTo>
                <a:cubicBezTo>
                  <a:pt x="10913" y="2207"/>
                  <a:pt x="10913" y="2206"/>
                  <a:pt x="10913" y="2206"/>
                </a:cubicBezTo>
                <a:lnTo>
                  <a:pt x="10913" y="2206"/>
                </a:lnTo>
                <a:cubicBezTo>
                  <a:pt x="10915" y="2205"/>
                  <a:pt x="10916" y="2204"/>
                  <a:pt x="10918" y="2202"/>
                </a:cubicBezTo>
                <a:lnTo>
                  <a:pt x="10918" y="2202"/>
                </a:lnTo>
                <a:cubicBezTo>
                  <a:pt x="10930" y="2192"/>
                  <a:pt x="10942" y="2182"/>
                  <a:pt x="10954" y="2172"/>
                </a:cubicBezTo>
                <a:lnTo>
                  <a:pt x="10954" y="2172"/>
                </a:lnTo>
                <a:cubicBezTo>
                  <a:pt x="10957" y="2170"/>
                  <a:pt x="10960" y="2168"/>
                  <a:pt x="10963" y="2165"/>
                </a:cubicBezTo>
                <a:lnTo>
                  <a:pt x="10963" y="2165"/>
                </a:lnTo>
                <a:cubicBezTo>
                  <a:pt x="10975" y="2154"/>
                  <a:pt x="10989" y="2144"/>
                  <a:pt x="11001" y="2132"/>
                </a:cubicBezTo>
                <a:lnTo>
                  <a:pt x="11001" y="2132"/>
                </a:lnTo>
                <a:cubicBezTo>
                  <a:pt x="11003" y="2130"/>
                  <a:pt x="11006" y="2128"/>
                  <a:pt x="11008" y="2125"/>
                </a:cubicBezTo>
                <a:lnTo>
                  <a:pt x="11008" y="2125"/>
                </a:lnTo>
                <a:cubicBezTo>
                  <a:pt x="11020" y="2115"/>
                  <a:pt x="11031" y="2105"/>
                  <a:pt x="11042" y="2095"/>
                </a:cubicBezTo>
                <a:lnTo>
                  <a:pt x="11042" y="2095"/>
                </a:lnTo>
                <a:cubicBezTo>
                  <a:pt x="11044" y="2093"/>
                  <a:pt x="11046" y="2091"/>
                  <a:pt x="11048" y="2090"/>
                </a:cubicBezTo>
                <a:lnTo>
                  <a:pt x="11048" y="2090"/>
                </a:lnTo>
                <a:cubicBezTo>
                  <a:pt x="11060" y="2078"/>
                  <a:pt x="11071" y="2067"/>
                  <a:pt x="11083" y="2055"/>
                </a:cubicBezTo>
                <a:lnTo>
                  <a:pt x="11083" y="2055"/>
                </a:lnTo>
                <a:cubicBezTo>
                  <a:pt x="11084" y="2054"/>
                  <a:pt x="11085" y="2053"/>
                  <a:pt x="11086" y="2052"/>
                </a:cubicBezTo>
                <a:lnTo>
                  <a:pt x="11086" y="2052"/>
                </a:lnTo>
                <a:cubicBezTo>
                  <a:pt x="11088" y="2050"/>
                  <a:pt x="11090" y="2049"/>
                  <a:pt x="11091" y="2047"/>
                </a:cubicBezTo>
                <a:lnTo>
                  <a:pt x="11091" y="2047"/>
                </a:lnTo>
                <a:cubicBezTo>
                  <a:pt x="11101" y="2037"/>
                  <a:pt x="11111" y="2027"/>
                  <a:pt x="11121" y="2017"/>
                </a:cubicBezTo>
                <a:lnTo>
                  <a:pt x="11121" y="2017"/>
                </a:lnTo>
                <a:cubicBezTo>
                  <a:pt x="11122" y="2016"/>
                  <a:pt x="11122" y="2015"/>
                  <a:pt x="11124" y="2014"/>
                </a:cubicBezTo>
                <a:lnTo>
                  <a:pt x="11124" y="2014"/>
                </a:lnTo>
                <a:cubicBezTo>
                  <a:pt x="11134" y="2003"/>
                  <a:pt x="11145" y="1991"/>
                  <a:pt x="11155" y="1981"/>
                </a:cubicBezTo>
                <a:lnTo>
                  <a:pt x="11155" y="1981"/>
                </a:lnTo>
                <a:cubicBezTo>
                  <a:pt x="11157" y="1978"/>
                  <a:pt x="11159" y="1975"/>
                  <a:pt x="11162" y="1973"/>
                </a:cubicBezTo>
                <a:lnTo>
                  <a:pt x="11162" y="1973"/>
                </a:lnTo>
                <a:cubicBezTo>
                  <a:pt x="11171" y="1963"/>
                  <a:pt x="11179" y="1953"/>
                  <a:pt x="11187" y="1943"/>
                </a:cubicBezTo>
                <a:lnTo>
                  <a:pt x="11187" y="1943"/>
                </a:lnTo>
                <a:cubicBezTo>
                  <a:pt x="11189" y="1942"/>
                  <a:pt x="11191" y="1940"/>
                  <a:pt x="11192" y="1938"/>
                </a:cubicBezTo>
                <a:lnTo>
                  <a:pt x="11192" y="1938"/>
                </a:lnTo>
                <a:cubicBezTo>
                  <a:pt x="11201" y="1927"/>
                  <a:pt x="11210" y="1916"/>
                  <a:pt x="11219" y="1904"/>
                </a:cubicBezTo>
                <a:lnTo>
                  <a:pt x="11219" y="1904"/>
                </a:lnTo>
                <a:cubicBezTo>
                  <a:pt x="11220" y="1903"/>
                  <a:pt x="11221" y="1902"/>
                  <a:pt x="11222" y="1901"/>
                </a:cubicBezTo>
                <a:lnTo>
                  <a:pt x="11222" y="1901"/>
                </a:lnTo>
                <a:cubicBezTo>
                  <a:pt x="11224" y="1899"/>
                  <a:pt x="11225" y="1898"/>
                  <a:pt x="11226" y="1896"/>
                </a:cubicBezTo>
                <a:lnTo>
                  <a:pt x="11226" y="1896"/>
                </a:lnTo>
                <a:cubicBezTo>
                  <a:pt x="11234" y="1887"/>
                  <a:pt x="11240" y="1878"/>
                  <a:pt x="11247" y="1869"/>
                </a:cubicBezTo>
                <a:lnTo>
                  <a:pt x="11247" y="1869"/>
                </a:lnTo>
                <a:cubicBezTo>
                  <a:pt x="11249" y="1866"/>
                  <a:pt x="11250" y="1864"/>
                  <a:pt x="11252" y="1862"/>
                </a:cubicBezTo>
                <a:lnTo>
                  <a:pt x="11252" y="1862"/>
                </a:lnTo>
                <a:cubicBezTo>
                  <a:pt x="11260" y="1850"/>
                  <a:pt x="11268" y="1840"/>
                  <a:pt x="11276" y="1829"/>
                </a:cubicBezTo>
                <a:lnTo>
                  <a:pt x="11276" y="1829"/>
                </a:lnTo>
                <a:cubicBezTo>
                  <a:pt x="11277" y="1826"/>
                  <a:pt x="11279" y="1823"/>
                  <a:pt x="11281" y="1821"/>
                </a:cubicBezTo>
                <a:lnTo>
                  <a:pt x="11281" y="1821"/>
                </a:lnTo>
                <a:cubicBezTo>
                  <a:pt x="11287" y="1812"/>
                  <a:pt x="11293" y="1803"/>
                  <a:pt x="11299" y="1794"/>
                </a:cubicBezTo>
                <a:lnTo>
                  <a:pt x="11299" y="1794"/>
                </a:lnTo>
                <a:cubicBezTo>
                  <a:pt x="11301" y="1791"/>
                  <a:pt x="11303" y="1788"/>
                  <a:pt x="11305" y="1785"/>
                </a:cubicBezTo>
                <a:lnTo>
                  <a:pt x="11305" y="1785"/>
                </a:lnTo>
                <a:cubicBezTo>
                  <a:pt x="11312" y="1774"/>
                  <a:pt x="11318" y="1763"/>
                  <a:pt x="11326" y="1752"/>
                </a:cubicBezTo>
                <a:lnTo>
                  <a:pt x="11326" y="1752"/>
                </a:lnTo>
                <a:cubicBezTo>
                  <a:pt x="11326" y="1751"/>
                  <a:pt x="11326" y="1751"/>
                  <a:pt x="11326" y="1750"/>
                </a:cubicBezTo>
                <a:lnTo>
                  <a:pt x="11326" y="1750"/>
                </a:lnTo>
                <a:cubicBezTo>
                  <a:pt x="11327" y="1749"/>
                  <a:pt x="11328" y="1747"/>
                  <a:pt x="11328" y="1746"/>
                </a:cubicBezTo>
                <a:lnTo>
                  <a:pt x="11328" y="1746"/>
                </a:lnTo>
                <a:cubicBezTo>
                  <a:pt x="11335" y="1737"/>
                  <a:pt x="11340" y="1727"/>
                  <a:pt x="11345" y="1717"/>
                </a:cubicBezTo>
                <a:lnTo>
                  <a:pt x="11345" y="1717"/>
                </a:lnTo>
                <a:cubicBezTo>
                  <a:pt x="11347" y="1714"/>
                  <a:pt x="11348" y="1711"/>
                  <a:pt x="11350" y="1708"/>
                </a:cubicBezTo>
                <a:lnTo>
                  <a:pt x="11350" y="1708"/>
                </a:lnTo>
                <a:cubicBezTo>
                  <a:pt x="11356" y="1697"/>
                  <a:pt x="11361" y="1686"/>
                  <a:pt x="11367" y="1675"/>
                </a:cubicBezTo>
                <a:lnTo>
                  <a:pt x="11367" y="1675"/>
                </a:lnTo>
                <a:cubicBezTo>
                  <a:pt x="11367" y="1675"/>
                  <a:pt x="11367" y="1674"/>
                  <a:pt x="11368" y="1674"/>
                </a:cubicBezTo>
                <a:lnTo>
                  <a:pt x="11368" y="1674"/>
                </a:lnTo>
                <a:cubicBezTo>
                  <a:pt x="11373" y="1663"/>
                  <a:pt x="11378" y="1651"/>
                  <a:pt x="11384" y="1640"/>
                </a:cubicBezTo>
                <a:lnTo>
                  <a:pt x="11384" y="1640"/>
                </a:lnTo>
                <a:cubicBezTo>
                  <a:pt x="11385" y="1636"/>
                  <a:pt x="11386" y="1633"/>
                  <a:pt x="11388" y="1630"/>
                </a:cubicBezTo>
                <a:lnTo>
                  <a:pt x="11388" y="1630"/>
                </a:lnTo>
                <a:cubicBezTo>
                  <a:pt x="11392" y="1620"/>
                  <a:pt x="11396" y="1611"/>
                  <a:pt x="11400" y="1601"/>
                </a:cubicBezTo>
                <a:lnTo>
                  <a:pt x="11400" y="1601"/>
                </a:lnTo>
                <a:cubicBezTo>
                  <a:pt x="11400" y="1600"/>
                  <a:pt x="11401" y="1598"/>
                  <a:pt x="11402" y="1597"/>
                </a:cubicBezTo>
                <a:lnTo>
                  <a:pt x="11402" y="1597"/>
                </a:lnTo>
                <a:cubicBezTo>
                  <a:pt x="11402" y="1596"/>
                  <a:pt x="11402" y="1596"/>
                  <a:pt x="11402" y="1595"/>
                </a:cubicBezTo>
                <a:lnTo>
                  <a:pt x="11402" y="1595"/>
                </a:lnTo>
                <a:cubicBezTo>
                  <a:pt x="11407" y="1583"/>
                  <a:pt x="11411" y="1572"/>
                  <a:pt x="11416" y="1560"/>
                </a:cubicBezTo>
                <a:lnTo>
                  <a:pt x="11416" y="1560"/>
                </a:lnTo>
                <a:cubicBezTo>
                  <a:pt x="11416" y="1557"/>
                  <a:pt x="11417" y="1555"/>
                  <a:pt x="11418" y="1552"/>
                </a:cubicBezTo>
                <a:lnTo>
                  <a:pt x="11418" y="1552"/>
                </a:lnTo>
                <a:cubicBezTo>
                  <a:pt x="11421" y="1542"/>
                  <a:pt x="11424" y="1532"/>
                  <a:pt x="11427" y="1522"/>
                </a:cubicBezTo>
                <a:lnTo>
                  <a:pt x="11427" y="1522"/>
                </a:lnTo>
                <a:cubicBezTo>
                  <a:pt x="11428" y="1520"/>
                  <a:pt x="11429" y="1517"/>
                  <a:pt x="11430" y="1515"/>
                </a:cubicBezTo>
                <a:lnTo>
                  <a:pt x="11430" y="1515"/>
                </a:lnTo>
                <a:cubicBezTo>
                  <a:pt x="11433" y="1503"/>
                  <a:pt x="11437" y="1491"/>
                  <a:pt x="11439" y="1479"/>
                </a:cubicBezTo>
                <a:lnTo>
                  <a:pt x="11439" y="1479"/>
                </a:lnTo>
                <a:cubicBezTo>
                  <a:pt x="11440" y="1476"/>
                  <a:pt x="11441" y="1474"/>
                  <a:pt x="11441" y="1472"/>
                </a:cubicBezTo>
                <a:lnTo>
                  <a:pt x="11441" y="1472"/>
                </a:lnTo>
                <a:cubicBezTo>
                  <a:pt x="11444" y="1462"/>
                  <a:pt x="11446" y="1452"/>
                  <a:pt x="11448" y="1442"/>
                </a:cubicBezTo>
                <a:lnTo>
                  <a:pt x="11448" y="1442"/>
                </a:lnTo>
                <a:cubicBezTo>
                  <a:pt x="11448" y="1440"/>
                  <a:pt x="11448" y="1438"/>
                  <a:pt x="11449" y="1436"/>
                </a:cubicBezTo>
                <a:lnTo>
                  <a:pt x="11449" y="1436"/>
                </a:lnTo>
                <a:cubicBezTo>
                  <a:pt x="11449" y="1435"/>
                  <a:pt x="11449" y="1434"/>
                  <a:pt x="11449" y="1432"/>
                </a:cubicBezTo>
                <a:lnTo>
                  <a:pt x="11449" y="1432"/>
                </a:lnTo>
                <a:cubicBezTo>
                  <a:pt x="11452" y="1422"/>
                  <a:pt x="11454" y="1411"/>
                  <a:pt x="11455" y="1399"/>
                </a:cubicBezTo>
                <a:lnTo>
                  <a:pt x="11455" y="1399"/>
                </a:lnTo>
                <a:cubicBezTo>
                  <a:pt x="11457" y="1388"/>
                  <a:pt x="11459" y="1376"/>
                  <a:pt x="11460" y="1365"/>
                </a:cubicBezTo>
              </a:path>
            </a:pathLst>
          </a:custGeom>
          <a:solidFill>
            <a:schemeClr val="accent5">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2" name="Freeform 3">
            <a:extLst>
              <a:ext uri="{FF2B5EF4-FFF2-40B4-BE49-F238E27FC236}">
                <a16:creationId xmlns:a16="http://schemas.microsoft.com/office/drawing/2014/main" xmlns="" id="{9679F759-269F-439F-B0C2-E4EB70407320}"/>
              </a:ext>
            </a:extLst>
          </p:cNvPr>
          <p:cNvSpPr>
            <a:spLocks noChangeArrowheads="1"/>
          </p:cNvSpPr>
          <p:nvPr/>
        </p:nvSpPr>
        <p:spPr bwMode="auto">
          <a:xfrm>
            <a:off x="6915274" y="4831267"/>
            <a:ext cx="2174307" cy="813624"/>
          </a:xfrm>
          <a:custGeom>
            <a:avLst/>
            <a:gdLst>
              <a:gd name="T0" fmla="*/ 5087 w 9638"/>
              <a:gd name="T1" fmla="*/ 31 h 3606"/>
              <a:gd name="T2" fmla="*/ 5087 w 9638"/>
              <a:gd name="T3" fmla="*/ 31 h 3606"/>
              <a:gd name="T4" fmla="*/ 149 w 9638"/>
              <a:gd name="T5" fmla="*/ 1739 h 3606"/>
              <a:gd name="T6" fmla="*/ 149 w 9638"/>
              <a:gd name="T7" fmla="*/ 1739 h 3606"/>
              <a:gd name="T8" fmla="*/ 4550 w 9638"/>
              <a:gd name="T9" fmla="*/ 3574 h 3606"/>
              <a:gd name="T10" fmla="*/ 4550 w 9638"/>
              <a:gd name="T11" fmla="*/ 3574 h 3606"/>
              <a:gd name="T12" fmla="*/ 9489 w 9638"/>
              <a:gd name="T13" fmla="*/ 1851 h 3606"/>
              <a:gd name="T14" fmla="*/ 9489 w 9638"/>
              <a:gd name="T15" fmla="*/ 1851 h 3606"/>
              <a:gd name="T16" fmla="*/ 5087 w 9638"/>
              <a:gd name="T17" fmla="*/ 31 h 3606"/>
              <a:gd name="T18" fmla="*/ 4621 w 9638"/>
              <a:gd name="T19" fmla="*/ 3086 h 3606"/>
              <a:gd name="T20" fmla="*/ 4621 w 9638"/>
              <a:gd name="T21" fmla="*/ 3086 h 3606"/>
              <a:gd name="T22" fmla="*/ 1400 w 9638"/>
              <a:gd name="T23" fmla="*/ 1753 h 3606"/>
              <a:gd name="T24" fmla="*/ 1400 w 9638"/>
              <a:gd name="T25" fmla="*/ 1753 h 3606"/>
              <a:gd name="T26" fmla="*/ 5015 w 9638"/>
              <a:gd name="T27" fmla="*/ 504 h 3606"/>
              <a:gd name="T28" fmla="*/ 5015 w 9638"/>
              <a:gd name="T29" fmla="*/ 504 h 3606"/>
              <a:gd name="T30" fmla="*/ 8238 w 9638"/>
              <a:gd name="T31" fmla="*/ 1836 h 3606"/>
              <a:gd name="T32" fmla="*/ 8238 w 9638"/>
              <a:gd name="T33" fmla="*/ 1836 h 3606"/>
              <a:gd name="T34" fmla="*/ 4621 w 9638"/>
              <a:gd name="T35" fmla="*/ 3086 h 3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38" h="3606">
                <a:moveTo>
                  <a:pt x="5087" y="31"/>
                </a:moveTo>
                <a:lnTo>
                  <a:pt x="5087" y="31"/>
                </a:lnTo>
                <a:cubicBezTo>
                  <a:pt x="2509" y="0"/>
                  <a:pt x="297" y="765"/>
                  <a:pt x="149" y="1739"/>
                </a:cubicBezTo>
                <a:lnTo>
                  <a:pt x="149" y="1739"/>
                </a:lnTo>
                <a:cubicBezTo>
                  <a:pt x="0" y="2713"/>
                  <a:pt x="1971" y="3543"/>
                  <a:pt x="4550" y="3574"/>
                </a:cubicBezTo>
                <a:lnTo>
                  <a:pt x="4550" y="3574"/>
                </a:lnTo>
                <a:cubicBezTo>
                  <a:pt x="7129" y="3605"/>
                  <a:pt x="9341" y="2825"/>
                  <a:pt x="9489" y="1851"/>
                </a:cubicBezTo>
                <a:lnTo>
                  <a:pt x="9489" y="1851"/>
                </a:lnTo>
                <a:cubicBezTo>
                  <a:pt x="9637" y="877"/>
                  <a:pt x="7667" y="63"/>
                  <a:pt x="5087" y="31"/>
                </a:cubicBezTo>
                <a:close/>
                <a:moveTo>
                  <a:pt x="4621" y="3086"/>
                </a:moveTo>
                <a:lnTo>
                  <a:pt x="4621" y="3086"/>
                </a:lnTo>
                <a:cubicBezTo>
                  <a:pt x="2734" y="3063"/>
                  <a:pt x="1291" y="2467"/>
                  <a:pt x="1400" y="1753"/>
                </a:cubicBezTo>
                <a:lnTo>
                  <a:pt x="1400" y="1753"/>
                </a:lnTo>
                <a:cubicBezTo>
                  <a:pt x="1508" y="1041"/>
                  <a:pt x="3127" y="482"/>
                  <a:pt x="5015" y="504"/>
                </a:cubicBezTo>
                <a:lnTo>
                  <a:pt x="5015" y="504"/>
                </a:lnTo>
                <a:cubicBezTo>
                  <a:pt x="6904" y="527"/>
                  <a:pt x="8347" y="1123"/>
                  <a:pt x="8238" y="1836"/>
                </a:cubicBezTo>
                <a:lnTo>
                  <a:pt x="8238" y="1836"/>
                </a:lnTo>
                <a:cubicBezTo>
                  <a:pt x="8129" y="2550"/>
                  <a:pt x="6510" y="3109"/>
                  <a:pt x="4621" y="3086"/>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3" name="Freeform 5">
            <a:extLst>
              <a:ext uri="{FF2B5EF4-FFF2-40B4-BE49-F238E27FC236}">
                <a16:creationId xmlns:a16="http://schemas.microsoft.com/office/drawing/2014/main" xmlns="" id="{F5A24859-1FF2-4312-9812-15F8CBF67DE5}"/>
              </a:ext>
            </a:extLst>
          </p:cNvPr>
          <p:cNvSpPr>
            <a:spLocks noChangeArrowheads="1"/>
          </p:cNvSpPr>
          <p:nvPr/>
        </p:nvSpPr>
        <p:spPr bwMode="auto">
          <a:xfrm>
            <a:off x="7488193" y="5045117"/>
            <a:ext cx="1028470" cy="382941"/>
          </a:xfrm>
          <a:custGeom>
            <a:avLst/>
            <a:gdLst>
              <a:gd name="T0" fmla="*/ 2407 w 4561"/>
              <a:gd name="T1" fmla="*/ 15 h 1699"/>
              <a:gd name="T2" fmla="*/ 2407 w 4561"/>
              <a:gd name="T3" fmla="*/ 15 h 1699"/>
              <a:gd name="T4" fmla="*/ 70 w 4561"/>
              <a:gd name="T5" fmla="*/ 822 h 1699"/>
              <a:gd name="T6" fmla="*/ 70 w 4561"/>
              <a:gd name="T7" fmla="*/ 822 h 1699"/>
              <a:gd name="T8" fmla="*/ 2152 w 4561"/>
              <a:gd name="T9" fmla="*/ 1683 h 1699"/>
              <a:gd name="T10" fmla="*/ 2152 w 4561"/>
              <a:gd name="T11" fmla="*/ 1683 h 1699"/>
              <a:gd name="T12" fmla="*/ 4490 w 4561"/>
              <a:gd name="T13" fmla="*/ 876 h 1699"/>
              <a:gd name="T14" fmla="*/ 4490 w 4561"/>
              <a:gd name="T15" fmla="*/ 876 h 1699"/>
              <a:gd name="T16" fmla="*/ 2407 w 4561"/>
              <a:gd name="T17" fmla="*/ 15 h 1699"/>
              <a:gd name="T18" fmla="*/ 2219 w 4561"/>
              <a:gd name="T19" fmla="*/ 1243 h 1699"/>
              <a:gd name="T20" fmla="*/ 2219 w 4561"/>
              <a:gd name="T21" fmla="*/ 1243 h 1699"/>
              <a:gd name="T22" fmla="*/ 1236 w 4561"/>
              <a:gd name="T23" fmla="*/ 836 h 1699"/>
              <a:gd name="T24" fmla="*/ 1236 w 4561"/>
              <a:gd name="T25" fmla="*/ 836 h 1699"/>
              <a:gd name="T26" fmla="*/ 2339 w 4561"/>
              <a:gd name="T27" fmla="*/ 455 h 1699"/>
              <a:gd name="T28" fmla="*/ 2339 w 4561"/>
              <a:gd name="T29" fmla="*/ 455 h 1699"/>
              <a:gd name="T30" fmla="*/ 3322 w 4561"/>
              <a:gd name="T31" fmla="*/ 862 h 1699"/>
              <a:gd name="T32" fmla="*/ 3322 w 4561"/>
              <a:gd name="T33" fmla="*/ 862 h 1699"/>
              <a:gd name="T34" fmla="*/ 2219 w 4561"/>
              <a:gd name="T35" fmla="*/ 1243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61" h="1699">
                <a:moveTo>
                  <a:pt x="2407" y="15"/>
                </a:moveTo>
                <a:lnTo>
                  <a:pt x="2407" y="15"/>
                </a:lnTo>
                <a:cubicBezTo>
                  <a:pt x="1186" y="0"/>
                  <a:pt x="140" y="361"/>
                  <a:pt x="70" y="822"/>
                </a:cubicBezTo>
                <a:lnTo>
                  <a:pt x="70" y="822"/>
                </a:lnTo>
                <a:cubicBezTo>
                  <a:pt x="0" y="1283"/>
                  <a:pt x="933" y="1669"/>
                  <a:pt x="2152" y="1683"/>
                </a:cubicBezTo>
                <a:lnTo>
                  <a:pt x="2152" y="1683"/>
                </a:lnTo>
                <a:cubicBezTo>
                  <a:pt x="3372" y="1698"/>
                  <a:pt x="4419" y="1337"/>
                  <a:pt x="4490" y="876"/>
                </a:cubicBezTo>
                <a:lnTo>
                  <a:pt x="4490" y="876"/>
                </a:lnTo>
                <a:cubicBezTo>
                  <a:pt x="4560" y="415"/>
                  <a:pt x="3628" y="29"/>
                  <a:pt x="2407" y="15"/>
                </a:cubicBezTo>
                <a:close/>
                <a:moveTo>
                  <a:pt x="2219" y="1243"/>
                </a:moveTo>
                <a:lnTo>
                  <a:pt x="2219" y="1243"/>
                </a:lnTo>
                <a:cubicBezTo>
                  <a:pt x="1644" y="1236"/>
                  <a:pt x="1204" y="1054"/>
                  <a:pt x="1236" y="836"/>
                </a:cubicBezTo>
                <a:lnTo>
                  <a:pt x="1236" y="836"/>
                </a:lnTo>
                <a:cubicBezTo>
                  <a:pt x="1270" y="619"/>
                  <a:pt x="1763" y="448"/>
                  <a:pt x="2339" y="455"/>
                </a:cubicBezTo>
                <a:lnTo>
                  <a:pt x="2339" y="455"/>
                </a:lnTo>
                <a:cubicBezTo>
                  <a:pt x="2915" y="462"/>
                  <a:pt x="3355" y="644"/>
                  <a:pt x="3322" y="862"/>
                </a:cubicBezTo>
                <a:lnTo>
                  <a:pt x="3322" y="862"/>
                </a:lnTo>
                <a:cubicBezTo>
                  <a:pt x="3289" y="1079"/>
                  <a:pt x="2795" y="1250"/>
                  <a:pt x="2219" y="1243"/>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4" name="Freeform 15">
            <a:extLst>
              <a:ext uri="{FF2B5EF4-FFF2-40B4-BE49-F238E27FC236}">
                <a16:creationId xmlns:a16="http://schemas.microsoft.com/office/drawing/2014/main" xmlns="" id="{3FF91EF8-E51F-4C0F-A04A-1A3158CFFF30}"/>
              </a:ext>
            </a:extLst>
          </p:cNvPr>
          <p:cNvSpPr>
            <a:spLocks noChangeArrowheads="1"/>
          </p:cNvSpPr>
          <p:nvPr/>
        </p:nvSpPr>
        <p:spPr bwMode="auto">
          <a:xfrm>
            <a:off x="6711454" y="4750063"/>
            <a:ext cx="2581723" cy="976794"/>
          </a:xfrm>
          <a:custGeom>
            <a:avLst/>
            <a:gdLst>
              <a:gd name="connsiteX0" fmla="*/ 3148751 w 6232704"/>
              <a:gd name="connsiteY0" fmla="*/ 958642 h 2358145"/>
              <a:gd name="connsiteX1" fmla="*/ 3684016 w 6232704"/>
              <a:gd name="connsiteY1" fmla="*/ 1180149 h 2358145"/>
              <a:gd name="connsiteX2" fmla="*/ 3083409 w 6232704"/>
              <a:gd name="connsiteY2" fmla="*/ 1387506 h 2358145"/>
              <a:gd name="connsiteX3" fmla="*/ 2548144 w 6232704"/>
              <a:gd name="connsiteY3" fmla="*/ 1165999 h 2358145"/>
              <a:gd name="connsiteX4" fmla="*/ 3148751 w 6232704"/>
              <a:gd name="connsiteY4" fmla="*/ 958642 h 2358145"/>
              <a:gd name="connsiteX5" fmla="*/ 3185494 w 6232704"/>
              <a:gd name="connsiteY5" fmla="*/ 721025 h 2358145"/>
              <a:gd name="connsiteX6" fmla="*/ 1913174 w 6232704"/>
              <a:gd name="connsiteY6" fmla="*/ 1160498 h 2358145"/>
              <a:gd name="connsiteX7" fmla="*/ 3046666 w 6232704"/>
              <a:gd name="connsiteY7" fmla="*/ 1629378 h 2358145"/>
              <a:gd name="connsiteX8" fmla="*/ 4319530 w 6232704"/>
              <a:gd name="connsiteY8" fmla="*/ 1189905 h 2358145"/>
              <a:gd name="connsiteX9" fmla="*/ 3185494 w 6232704"/>
              <a:gd name="connsiteY9" fmla="*/ 721025 h 2358145"/>
              <a:gd name="connsiteX10" fmla="*/ 3223059 w 6232704"/>
              <a:gd name="connsiteY10" fmla="*/ 472154 h 2358145"/>
              <a:gd name="connsiteX11" fmla="*/ 4977739 w 6232704"/>
              <a:gd name="connsiteY11" fmla="*/ 1197529 h 2358145"/>
              <a:gd name="connsiteX12" fmla="*/ 3008556 w 6232704"/>
              <a:gd name="connsiteY12" fmla="*/ 1878249 h 2358145"/>
              <a:gd name="connsiteX13" fmla="*/ 1254965 w 6232704"/>
              <a:gd name="connsiteY13" fmla="*/ 1152329 h 2358145"/>
              <a:gd name="connsiteX14" fmla="*/ 3223059 w 6232704"/>
              <a:gd name="connsiteY14" fmla="*/ 472154 h 2358145"/>
              <a:gd name="connsiteX15" fmla="*/ 3262295 w 6232704"/>
              <a:gd name="connsiteY15" fmla="*/ 214529 h 2358145"/>
              <a:gd name="connsiteX16" fmla="*/ 573240 w 6232704"/>
              <a:gd name="connsiteY16" fmla="*/ 1144240 h 2358145"/>
              <a:gd name="connsiteX17" fmla="*/ 2969864 w 6232704"/>
              <a:gd name="connsiteY17" fmla="*/ 2134372 h 2358145"/>
              <a:gd name="connsiteX18" fmla="*/ 5659463 w 6232704"/>
              <a:gd name="connsiteY18" fmla="*/ 1205205 h 2358145"/>
              <a:gd name="connsiteX19" fmla="*/ 3262295 w 6232704"/>
              <a:gd name="connsiteY19" fmla="*/ 214529 h 2358145"/>
              <a:gd name="connsiteX20" fmla="*/ 3294969 w 6232704"/>
              <a:gd name="connsiteY20" fmla="*/ 608 h 2358145"/>
              <a:gd name="connsiteX21" fmla="*/ 6227443 w 6232704"/>
              <a:gd name="connsiteY21" fmla="*/ 1212281 h 2358145"/>
              <a:gd name="connsiteX22" fmla="*/ 2937190 w 6232704"/>
              <a:gd name="connsiteY22" fmla="*/ 2357546 h 2358145"/>
              <a:gd name="connsiteX23" fmla="*/ 5261 w 6232704"/>
              <a:gd name="connsiteY23" fmla="*/ 1137164 h 2358145"/>
              <a:gd name="connsiteX24" fmla="*/ 3294969 w 6232704"/>
              <a:gd name="connsiteY24" fmla="*/ 608 h 235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232704" h="2358145">
                <a:moveTo>
                  <a:pt x="3148751" y="958642"/>
                </a:moveTo>
                <a:cubicBezTo>
                  <a:pt x="3462396" y="962451"/>
                  <a:pt x="3701985" y="1061504"/>
                  <a:pt x="3684016" y="1180149"/>
                </a:cubicBezTo>
                <a:cubicBezTo>
                  <a:pt x="3666047" y="1298250"/>
                  <a:pt x="3397053" y="1391316"/>
                  <a:pt x="3083409" y="1387506"/>
                </a:cubicBezTo>
                <a:cubicBezTo>
                  <a:pt x="2770309" y="1383696"/>
                  <a:pt x="2530719" y="1284644"/>
                  <a:pt x="2548144" y="1165999"/>
                </a:cubicBezTo>
                <a:cubicBezTo>
                  <a:pt x="2566657" y="1047898"/>
                  <a:pt x="2835107" y="954832"/>
                  <a:pt x="3148751" y="958642"/>
                </a:cubicBezTo>
                <a:close/>
                <a:moveTo>
                  <a:pt x="3185494" y="721025"/>
                </a:moveTo>
                <a:cubicBezTo>
                  <a:pt x="2520752" y="712856"/>
                  <a:pt x="1951284" y="909448"/>
                  <a:pt x="1913174" y="1160498"/>
                </a:cubicBezTo>
                <a:cubicBezTo>
                  <a:pt x="1875065" y="1411547"/>
                  <a:pt x="2383013" y="1621754"/>
                  <a:pt x="3046666" y="1629378"/>
                </a:cubicBezTo>
                <a:cubicBezTo>
                  <a:pt x="3710864" y="1637547"/>
                  <a:pt x="4280876" y="1440955"/>
                  <a:pt x="4319530" y="1189905"/>
                </a:cubicBezTo>
                <a:cubicBezTo>
                  <a:pt x="4357640" y="938855"/>
                  <a:pt x="3850237" y="728649"/>
                  <a:pt x="3185494" y="721025"/>
                </a:cubicBezTo>
                <a:close/>
                <a:moveTo>
                  <a:pt x="3223059" y="472154"/>
                </a:moveTo>
                <a:cubicBezTo>
                  <a:pt x="4251477" y="484679"/>
                  <a:pt x="5037081" y="809246"/>
                  <a:pt x="4977739" y="1197529"/>
                </a:cubicBezTo>
                <a:cubicBezTo>
                  <a:pt x="4918397" y="1586356"/>
                  <a:pt x="4036974" y="1890774"/>
                  <a:pt x="3008556" y="1878249"/>
                </a:cubicBezTo>
                <a:cubicBezTo>
                  <a:pt x="1981227" y="1865724"/>
                  <a:pt x="1195623" y="1541157"/>
                  <a:pt x="1254965" y="1152329"/>
                </a:cubicBezTo>
                <a:cubicBezTo>
                  <a:pt x="1313763" y="764591"/>
                  <a:pt x="2195186" y="460173"/>
                  <a:pt x="3223059" y="472154"/>
                </a:cubicBezTo>
                <a:close/>
                <a:moveTo>
                  <a:pt x="3262295" y="214529"/>
                </a:moveTo>
                <a:cubicBezTo>
                  <a:pt x="1858410" y="197655"/>
                  <a:pt x="653836" y="614065"/>
                  <a:pt x="573240" y="1144240"/>
                </a:cubicBezTo>
                <a:cubicBezTo>
                  <a:pt x="492100" y="1674415"/>
                  <a:pt x="1565435" y="2117498"/>
                  <a:pt x="2969864" y="2134372"/>
                </a:cubicBezTo>
                <a:cubicBezTo>
                  <a:pt x="4374293" y="2151791"/>
                  <a:pt x="5578869" y="1735380"/>
                  <a:pt x="5659463" y="1205205"/>
                </a:cubicBezTo>
                <a:cubicBezTo>
                  <a:pt x="5740059" y="675030"/>
                  <a:pt x="4667269" y="231948"/>
                  <a:pt x="3262295" y="214529"/>
                </a:cubicBezTo>
                <a:close/>
                <a:moveTo>
                  <a:pt x="3294969" y="608"/>
                </a:moveTo>
                <a:cubicBezTo>
                  <a:pt x="5013611" y="21293"/>
                  <a:pt x="6326553" y="563443"/>
                  <a:pt x="6227443" y="1212281"/>
                </a:cubicBezTo>
                <a:cubicBezTo>
                  <a:pt x="6128333" y="1860575"/>
                  <a:pt x="4655288" y="2378231"/>
                  <a:pt x="2937190" y="2357546"/>
                </a:cubicBezTo>
                <a:cubicBezTo>
                  <a:pt x="1219093" y="2336862"/>
                  <a:pt x="-93850" y="1786002"/>
                  <a:pt x="5261" y="1137164"/>
                </a:cubicBezTo>
                <a:cubicBezTo>
                  <a:pt x="104371" y="488870"/>
                  <a:pt x="1577415" y="-20076"/>
                  <a:pt x="3294969" y="608"/>
                </a:cubicBezTo>
                <a:close/>
              </a:path>
            </a:pathLst>
          </a:custGeom>
          <a:solidFill>
            <a:schemeClr val="accent5"/>
          </a:solidFill>
          <a:ln>
            <a:noFill/>
          </a:ln>
          <a:effectLst/>
        </p:spPr>
        <p:txBody>
          <a:bodyPr wrap="square" anchor="ctr">
            <a:noAutofit/>
          </a:bodyPr>
          <a:lstStyle/>
          <a:p>
            <a:endParaRPr lang="en-GB" sz="2450" dirty="0">
              <a:latin typeface="Lato Light" panose="020F0502020204030203" pitchFamily="34" charset="0"/>
            </a:endParaRPr>
          </a:p>
        </p:txBody>
      </p:sp>
      <p:sp>
        <p:nvSpPr>
          <p:cNvPr id="15" name="Freeform 7">
            <a:extLst>
              <a:ext uri="{FF2B5EF4-FFF2-40B4-BE49-F238E27FC236}">
                <a16:creationId xmlns:a16="http://schemas.microsoft.com/office/drawing/2014/main" xmlns="" id="{4CC13BA3-1B78-425D-84FF-5471B13C3BED}"/>
              </a:ext>
            </a:extLst>
          </p:cNvPr>
          <p:cNvSpPr>
            <a:spLocks noChangeArrowheads="1"/>
          </p:cNvSpPr>
          <p:nvPr/>
        </p:nvSpPr>
        <p:spPr bwMode="auto">
          <a:xfrm>
            <a:off x="8078022" y="1878824"/>
            <a:ext cx="250049" cy="759913"/>
          </a:xfrm>
          <a:custGeom>
            <a:avLst/>
            <a:gdLst>
              <a:gd name="T0" fmla="*/ 1 w 1694"/>
              <a:gd name="T1" fmla="*/ 1899 h 5147"/>
              <a:gd name="T2" fmla="*/ 0 w 1694"/>
              <a:gd name="T3" fmla="*/ 5146 h 5147"/>
              <a:gd name="T4" fmla="*/ 1107 w 1694"/>
              <a:gd name="T5" fmla="*/ 4547 h 5147"/>
              <a:gd name="T6" fmla="*/ 1693 w 1694"/>
              <a:gd name="T7" fmla="*/ 0 h 5147"/>
              <a:gd name="T8" fmla="*/ 1 w 1694"/>
              <a:gd name="T9" fmla="*/ 1899 h 5147"/>
            </a:gdLst>
            <a:ahLst/>
            <a:cxnLst>
              <a:cxn ang="0">
                <a:pos x="T0" y="T1"/>
              </a:cxn>
              <a:cxn ang="0">
                <a:pos x="T2" y="T3"/>
              </a:cxn>
              <a:cxn ang="0">
                <a:pos x="T4" y="T5"/>
              </a:cxn>
              <a:cxn ang="0">
                <a:pos x="T6" y="T7"/>
              </a:cxn>
              <a:cxn ang="0">
                <a:pos x="T8" y="T9"/>
              </a:cxn>
            </a:cxnLst>
            <a:rect l="0" t="0" r="r" b="b"/>
            <a:pathLst>
              <a:path w="1694" h="5147">
                <a:moveTo>
                  <a:pt x="1" y="1899"/>
                </a:moveTo>
                <a:lnTo>
                  <a:pt x="0" y="5146"/>
                </a:lnTo>
                <a:lnTo>
                  <a:pt x="1107" y="4547"/>
                </a:lnTo>
                <a:lnTo>
                  <a:pt x="1693" y="0"/>
                </a:lnTo>
                <a:lnTo>
                  <a:pt x="1" y="1899"/>
                </a:lnTo>
              </a:path>
            </a:pathLst>
          </a:custGeom>
          <a:solidFill>
            <a:srgbClr val="34294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6" name="Freeform 9">
            <a:extLst>
              <a:ext uri="{FF2B5EF4-FFF2-40B4-BE49-F238E27FC236}">
                <a16:creationId xmlns:a16="http://schemas.microsoft.com/office/drawing/2014/main" xmlns="" id="{88F98C29-EB7D-45E6-9BBD-BD02C8A15882}"/>
              </a:ext>
            </a:extLst>
          </p:cNvPr>
          <p:cNvSpPr>
            <a:spLocks noChangeArrowheads="1"/>
          </p:cNvSpPr>
          <p:nvPr/>
        </p:nvSpPr>
        <p:spPr bwMode="auto">
          <a:xfrm>
            <a:off x="7685342" y="1880565"/>
            <a:ext cx="251771" cy="759913"/>
          </a:xfrm>
          <a:custGeom>
            <a:avLst/>
            <a:gdLst>
              <a:gd name="T0" fmla="*/ 583 w 1691"/>
              <a:gd name="T1" fmla="*/ 4529 h 5097"/>
              <a:gd name="T2" fmla="*/ 1689 w 1691"/>
              <a:gd name="T3" fmla="*/ 5096 h 5097"/>
              <a:gd name="T4" fmla="*/ 1690 w 1691"/>
              <a:gd name="T5" fmla="*/ 1848 h 5097"/>
              <a:gd name="T6" fmla="*/ 0 w 1691"/>
              <a:gd name="T7" fmla="*/ 0 h 5097"/>
              <a:gd name="T8" fmla="*/ 583 w 1691"/>
              <a:gd name="T9" fmla="*/ 4529 h 5097"/>
            </a:gdLst>
            <a:ahLst/>
            <a:cxnLst>
              <a:cxn ang="0">
                <a:pos x="T0" y="T1"/>
              </a:cxn>
              <a:cxn ang="0">
                <a:pos x="T2" y="T3"/>
              </a:cxn>
              <a:cxn ang="0">
                <a:pos x="T4" y="T5"/>
              </a:cxn>
              <a:cxn ang="0">
                <a:pos x="T6" y="T7"/>
              </a:cxn>
              <a:cxn ang="0">
                <a:pos x="T8" y="T9"/>
              </a:cxn>
            </a:cxnLst>
            <a:rect l="0" t="0" r="r" b="b"/>
            <a:pathLst>
              <a:path w="1691" h="5097">
                <a:moveTo>
                  <a:pt x="583" y="4529"/>
                </a:moveTo>
                <a:lnTo>
                  <a:pt x="1689" y="5096"/>
                </a:lnTo>
                <a:lnTo>
                  <a:pt x="1690" y="1848"/>
                </a:lnTo>
                <a:lnTo>
                  <a:pt x="0" y="0"/>
                </a:lnTo>
                <a:lnTo>
                  <a:pt x="583" y="4529"/>
                </a:lnTo>
              </a:path>
            </a:pathLst>
          </a:custGeom>
          <a:solidFill>
            <a:srgbClr val="34294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7" name="Freeform 10">
            <a:extLst>
              <a:ext uri="{FF2B5EF4-FFF2-40B4-BE49-F238E27FC236}">
                <a16:creationId xmlns:a16="http://schemas.microsoft.com/office/drawing/2014/main" xmlns="" id="{EBBCE050-5060-4136-830E-09555E82C359}"/>
              </a:ext>
            </a:extLst>
          </p:cNvPr>
          <p:cNvSpPr>
            <a:spLocks noChangeArrowheads="1"/>
          </p:cNvSpPr>
          <p:nvPr/>
        </p:nvSpPr>
        <p:spPr bwMode="auto">
          <a:xfrm>
            <a:off x="7985519" y="4772582"/>
            <a:ext cx="639561" cy="438640"/>
          </a:xfrm>
          <a:custGeom>
            <a:avLst/>
            <a:gdLst>
              <a:gd name="T0" fmla="*/ 537 w 2836"/>
              <a:gd name="T1" fmla="*/ 1895 h 1945"/>
              <a:gd name="T2" fmla="*/ 2835 w 2836"/>
              <a:gd name="T3" fmla="*/ 131 h 1945"/>
              <a:gd name="T4" fmla="*/ 2835 w 2836"/>
              <a:gd name="T5" fmla="*/ 131 h 1945"/>
              <a:gd name="T6" fmla="*/ 1995 w 2836"/>
              <a:gd name="T7" fmla="*/ 0 h 1945"/>
              <a:gd name="T8" fmla="*/ 70 w 2836"/>
              <a:gd name="T9" fmla="*/ 1491 h 1945"/>
              <a:gd name="T10" fmla="*/ 70 w 2836"/>
              <a:gd name="T11" fmla="*/ 1491 h 1945"/>
              <a:gd name="T12" fmla="*/ 156 w 2836"/>
              <a:gd name="T13" fmla="*/ 1826 h 1945"/>
              <a:gd name="T14" fmla="*/ 156 w 2836"/>
              <a:gd name="T15" fmla="*/ 1826 h 1945"/>
              <a:gd name="T16" fmla="*/ 537 w 2836"/>
              <a:gd name="T17" fmla="*/ 1895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6" h="1945">
                <a:moveTo>
                  <a:pt x="537" y="1895"/>
                </a:moveTo>
                <a:lnTo>
                  <a:pt x="2835" y="131"/>
                </a:lnTo>
                <a:lnTo>
                  <a:pt x="2835" y="131"/>
                </a:lnTo>
                <a:cubicBezTo>
                  <a:pt x="2569" y="79"/>
                  <a:pt x="2288" y="35"/>
                  <a:pt x="1995" y="0"/>
                </a:cubicBezTo>
                <a:lnTo>
                  <a:pt x="70" y="1491"/>
                </a:lnTo>
                <a:lnTo>
                  <a:pt x="70" y="1491"/>
                </a:lnTo>
                <a:cubicBezTo>
                  <a:pt x="0" y="1544"/>
                  <a:pt x="56" y="1706"/>
                  <a:pt x="156" y="1826"/>
                </a:cubicBezTo>
                <a:lnTo>
                  <a:pt x="156" y="1826"/>
                </a:lnTo>
                <a:cubicBezTo>
                  <a:pt x="254" y="1944"/>
                  <a:pt x="478" y="1941"/>
                  <a:pt x="537" y="1895"/>
                </a:cubicBezTo>
              </a:path>
            </a:pathLst>
          </a:custGeom>
          <a:solidFill>
            <a:schemeClr val="accent6">
              <a:alpha val="60000"/>
            </a:schemeClr>
          </a:solidFill>
          <a:ln>
            <a:noFill/>
          </a:ln>
          <a:effectLst/>
        </p:spPr>
        <p:txBody>
          <a:bodyPr wrap="none" anchor="ctr"/>
          <a:lstStyle/>
          <a:p>
            <a:endParaRPr lang="en-GB" sz="2450" dirty="0">
              <a:latin typeface="Lato Light" panose="020F0502020204030203" pitchFamily="34" charset="0"/>
            </a:endParaRPr>
          </a:p>
        </p:txBody>
      </p:sp>
      <p:sp>
        <p:nvSpPr>
          <p:cNvPr id="18" name="Freeform 11">
            <a:extLst>
              <a:ext uri="{FF2B5EF4-FFF2-40B4-BE49-F238E27FC236}">
                <a16:creationId xmlns:a16="http://schemas.microsoft.com/office/drawing/2014/main" xmlns="" id="{B8FF81BB-905A-4DF4-B969-0AF570D1F363}"/>
              </a:ext>
            </a:extLst>
          </p:cNvPr>
          <p:cNvSpPr>
            <a:spLocks noChangeArrowheads="1"/>
          </p:cNvSpPr>
          <p:nvPr/>
        </p:nvSpPr>
        <p:spPr bwMode="auto">
          <a:xfrm>
            <a:off x="7932802" y="2107913"/>
            <a:ext cx="147208" cy="3139117"/>
          </a:xfrm>
          <a:custGeom>
            <a:avLst/>
            <a:gdLst>
              <a:gd name="T0" fmla="*/ 652 w 653"/>
              <a:gd name="T1" fmla="*/ 13763 h 13915"/>
              <a:gd name="T2" fmla="*/ 652 w 653"/>
              <a:gd name="T3" fmla="*/ 13763 h 13915"/>
              <a:gd name="T4" fmla="*/ 335 w 653"/>
              <a:gd name="T5" fmla="*/ 13910 h 13915"/>
              <a:gd name="T6" fmla="*/ 335 w 653"/>
              <a:gd name="T7" fmla="*/ 13910 h 13915"/>
              <a:gd name="T8" fmla="*/ 2 w 653"/>
              <a:gd name="T9" fmla="*/ 13763 h 13915"/>
              <a:gd name="T10" fmla="*/ 2 w 653"/>
              <a:gd name="T11" fmla="*/ 286 h 13915"/>
              <a:gd name="T12" fmla="*/ 2 w 653"/>
              <a:gd name="T13" fmla="*/ 286 h 13915"/>
              <a:gd name="T14" fmla="*/ 326 w 653"/>
              <a:gd name="T15" fmla="*/ 0 h 13915"/>
              <a:gd name="T16" fmla="*/ 326 w 653"/>
              <a:gd name="T17" fmla="*/ 0 h 13915"/>
              <a:gd name="T18" fmla="*/ 652 w 653"/>
              <a:gd name="T19" fmla="*/ 286 h 13915"/>
              <a:gd name="T20" fmla="*/ 652 w 653"/>
              <a:gd name="T21" fmla="*/ 13763 h 13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3" h="13915">
                <a:moveTo>
                  <a:pt x="652" y="13763"/>
                </a:moveTo>
                <a:lnTo>
                  <a:pt x="652" y="13763"/>
                </a:lnTo>
                <a:cubicBezTo>
                  <a:pt x="652" y="13841"/>
                  <a:pt x="496" y="13906"/>
                  <a:pt x="335" y="13910"/>
                </a:cubicBezTo>
                <a:lnTo>
                  <a:pt x="335" y="13910"/>
                </a:lnTo>
                <a:cubicBezTo>
                  <a:pt x="170" y="13914"/>
                  <a:pt x="0" y="13855"/>
                  <a:pt x="2" y="13763"/>
                </a:cubicBezTo>
                <a:lnTo>
                  <a:pt x="2" y="286"/>
                </a:lnTo>
                <a:lnTo>
                  <a:pt x="2" y="286"/>
                </a:lnTo>
                <a:cubicBezTo>
                  <a:pt x="2" y="128"/>
                  <a:pt x="147" y="0"/>
                  <a:pt x="326" y="0"/>
                </a:cubicBezTo>
                <a:lnTo>
                  <a:pt x="326" y="0"/>
                </a:lnTo>
                <a:cubicBezTo>
                  <a:pt x="506" y="0"/>
                  <a:pt x="652" y="128"/>
                  <a:pt x="652" y="286"/>
                </a:cubicBezTo>
                <a:lnTo>
                  <a:pt x="652" y="13763"/>
                </a:lnTo>
              </a:path>
            </a:pathLst>
          </a:custGeom>
          <a:solidFill>
            <a:srgbClr val="77410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9" name="Chevron 18">
            <a:extLst>
              <a:ext uri="{FF2B5EF4-FFF2-40B4-BE49-F238E27FC236}">
                <a16:creationId xmlns:a16="http://schemas.microsoft.com/office/drawing/2014/main" xmlns="" id="{5B74722B-7431-4D7D-A43A-D76F101F5112}"/>
              </a:ext>
            </a:extLst>
          </p:cNvPr>
          <p:cNvSpPr/>
          <p:nvPr/>
        </p:nvSpPr>
        <p:spPr>
          <a:xfrm flipH="1">
            <a:off x="4259199" y="2693072"/>
            <a:ext cx="3363210" cy="538661"/>
          </a:xfrm>
          <a:prstGeom prst="chevron">
            <a:avLst>
              <a:gd name="adj" fmla="val 29491"/>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1" name="Chevron 21">
            <a:extLst>
              <a:ext uri="{FF2B5EF4-FFF2-40B4-BE49-F238E27FC236}">
                <a16:creationId xmlns:a16="http://schemas.microsoft.com/office/drawing/2014/main" xmlns="" id="{6345063A-48F4-4E22-A9F1-CB718969B574}"/>
              </a:ext>
            </a:extLst>
          </p:cNvPr>
          <p:cNvSpPr/>
          <p:nvPr/>
        </p:nvSpPr>
        <p:spPr>
          <a:xfrm flipH="1">
            <a:off x="4259199" y="3260763"/>
            <a:ext cx="3363210" cy="538661"/>
          </a:xfrm>
          <a:prstGeom prst="chevron">
            <a:avLst>
              <a:gd name="adj" fmla="val 29491"/>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3" name="Chevron 24">
            <a:extLst>
              <a:ext uri="{FF2B5EF4-FFF2-40B4-BE49-F238E27FC236}">
                <a16:creationId xmlns:a16="http://schemas.microsoft.com/office/drawing/2014/main" xmlns="" id="{5EE85497-1D38-4AA7-A516-EA6CF033DD8D}"/>
              </a:ext>
            </a:extLst>
          </p:cNvPr>
          <p:cNvSpPr/>
          <p:nvPr/>
        </p:nvSpPr>
        <p:spPr>
          <a:xfrm flipH="1">
            <a:off x="4259199" y="3830803"/>
            <a:ext cx="3363210" cy="538661"/>
          </a:xfrm>
          <a:prstGeom prst="chevron">
            <a:avLst>
              <a:gd name="adj" fmla="val 29491"/>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5" name="Chevron 27">
            <a:extLst>
              <a:ext uri="{FF2B5EF4-FFF2-40B4-BE49-F238E27FC236}">
                <a16:creationId xmlns:a16="http://schemas.microsoft.com/office/drawing/2014/main" xmlns="" id="{715592F3-5C52-4FC8-A2D6-CD394840FF99}"/>
              </a:ext>
            </a:extLst>
          </p:cNvPr>
          <p:cNvSpPr/>
          <p:nvPr/>
        </p:nvSpPr>
        <p:spPr>
          <a:xfrm flipH="1">
            <a:off x="4259199" y="4397222"/>
            <a:ext cx="3363210" cy="538661"/>
          </a:xfrm>
          <a:prstGeom prst="chevron">
            <a:avLst>
              <a:gd name="adj" fmla="val 29491"/>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7" name="Pentagon 29">
            <a:extLst>
              <a:ext uri="{FF2B5EF4-FFF2-40B4-BE49-F238E27FC236}">
                <a16:creationId xmlns:a16="http://schemas.microsoft.com/office/drawing/2014/main" xmlns="" id="{CED208B0-7DD5-4E78-968B-D3D44D789A20}"/>
              </a:ext>
            </a:extLst>
          </p:cNvPr>
          <p:cNvSpPr/>
          <p:nvPr/>
        </p:nvSpPr>
        <p:spPr>
          <a:xfrm flipH="1">
            <a:off x="7516731" y="3260884"/>
            <a:ext cx="581871" cy="537793"/>
          </a:xfrm>
          <a:prstGeom prst="homePlate">
            <a:avLst>
              <a:gd name="adj" fmla="val 29904"/>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8" name="Pentagon 30">
            <a:extLst>
              <a:ext uri="{FF2B5EF4-FFF2-40B4-BE49-F238E27FC236}">
                <a16:creationId xmlns:a16="http://schemas.microsoft.com/office/drawing/2014/main" xmlns="" id="{12369EE0-4C0C-40B9-A1E4-358F3A456F2E}"/>
              </a:ext>
            </a:extLst>
          </p:cNvPr>
          <p:cNvSpPr/>
          <p:nvPr/>
        </p:nvSpPr>
        <p:spPr>
          <a:xfrm flipH="1">
            <a:off x="7516731" y="2693193"/>
            <a:ext cx="581871" cy="537793"/>
          </a:xfrm>
          <a:prstGeom prst="homePlate">
            <a:avLst>
              <a:gd name="adj" fmla="val 29904"/>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9" name="Pentagon 31">
            <a:extLst>
              <a:ext uri="{FF2B5EF4-FFF2-40B4-BE49-F238E27FC236}">
                <a16:creationId xmlns:a16="http://schemas.microsoft.com/office/drawing/2014/main" xmlns="" id="{75A6A7E6-16D8-4704-B71D-CA741A8E099E}"/>
              </a:ext>
            </a:extLst>
          </p:cNvPr>
          <p:cNvSpPr/>
          <p:nvPr/>
        </p:nvSpPr>
        <p:spPr>
          <a:xfrm flipH="1">
            <a:off x="7516731" y="3831672"/>
            <a:ext cx="581871" cy="537793"/>
          </a:xfrm>
          <a:prstGeom prst="homePlate">
            <a:avLst>
              <a:gd name="adj" fmla="val 29904"/>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0" name="Pentagon 32">
            <a:extLst>
              <a:ext uri="{FF2B5EF4-FFF2-40B4-BE49-F238E27FC236}">
                <a16:creationId xmlns:a16="http://schemas.microsoft.com/office/drawing/2014/main" xmlns="" id="{C840AE69-2B1F-4B36-9FCF-DD160D433873}"/>
              </a:ext>
            </a:extLst>
          </p:cNvPr>
          <p:cNvSpPr/>
          <p:nvPr/>
        </p:nvSpPr>
        <p:spPr>
          <a:xfrm flipH="1">
            <a:off x="7516731" y="4396175"/>
            <a:ext cx="581871" cy="537793"/>
          </a:xfrm>
          <a:prstGeom prst="homePlate">
            <a:avLst>
              <a:gd name="adj" fmla="val 29904"/>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5" name="TextBox 39">
            <a:extLst>
              <a:ext uri="{FF2B5EF4-FFF2-40B4-BE49-F238E27FC236}">
                <a16:creationId xmlns:a16="http://schemas.microsoft.com/office/drawing/2014/main" xmlns="" id="{4A3C218F-615E-4200-889B-F7F905141BF3}"/>
              </a:ext>
            </a:extLst>
          </p:cNvPr>
          <p:cNvSpPr txBox="1"/>
          <p:nvPr/>
        </p:nvSpPr>
        <p:spPr>
          <a:xfrm>
            <a:off x="4460802" y="2742849"/>
            <a:ext cx="1563570" cy="369332"/>
          </a:xfrm>
          <a:prstGeom prst="rect">
            <a:avLst/>
          </a:prstGeom>
          <a:noFill/>
        </p:spPr>
        <p:txBody>
          <a:bodyPr wrap="none" rtlCol="0" anchor="ctr" anchorCtr="0">
            <a:spAutoFit/>
          </a:bodyPr>
          <a:lstStyle/>
          <a:p>
            <a:r>
              <a:rPr lang="en-GB" b="1" dirty="0">
                <a:solidFill>
                  <a:schemeClr val="bg1"/>
                </a:solidFill>
                <a:latin typeface="+mj-lt"/>
                <a:ea typeface="League Spartan" charset="0"/>
                <a:cs typeface="Poppins" pitchFamily="2" charset="77"/>
              </a:rPr>
              <a:t>Tone at the top</a:t>
            </a:r>
          </a:p>
        </p:txBody>
      </p:sp>
      <p:sp>
        <p:nvSpPr>
          <p:cNvPr id="37" name="TextBox 41">
            <a:extLst>
              <a:ext uri="{FF2B5EF4-FFF2-40B4-BE49-F238E27FC236}">
                <a16:creationId xmlns:a16="http://schemas.microsoft.com/office/drawing/2014/main" xmlns="" id="{16FD21DF-EC6F-4820-A168-7A38F811232A}"/>
              </a:ext>
            </a:extLst>
          </p:cNvPr>
          <p:cNvSpPr txBox="1"/>
          <p:nvPr/>
        </p:nvSpPr>
        <p:spPr>
          <a:xfrm>
            <a:off x="4460802" y="3333665"/>
            <a:ext cx="3316803" cy="369332"/>
          </a:xfrm>
          <a:prstGeom prst="rect">
            <a:avLst/>
          </a:prstGeom>
          <a:noFill/>
        </p:spPr>
        <p:txBody>
          <a:bodyPr wrap="square" rtlCol="0" anchor="ctr" anchorCtr="0">
            <a:spAutoFit/>
          </a:bodyPr>
          <a:lstStyle/>
          <a:p>
            <a:r>
              <a:rPr lang="en-GB" b="1" dirty="0">
                <a:solidFill>
                  <a:schemeClr val="bg1"/>
                </a:solidFill>
                <a:latin typeface="+mj-lt"/>
                <a:ea typeface="League Spartan" charset="0"/>
                <a:cs typeface="Poppins" pitchFamily="2" charset="77"/>
              </a:rPr>
              <a:t>Code of Conduct or Ethics</a:t>
            </a:r>
          </a:p>
        </p:txBody>
      </p:sp>
      <p:sp>
        <p:nvSpPr>
          <p:cNvPr id="39" name="TextBox 43">
            <a:extLst>
              <a:ext uri="{FF2B5EF4-FFF2-40B4-BE49-F238E27FC236}">
                <a16:creationId xmlns:a16="http://schemas.microsoft.com/office/drawing/2014/main" xmlns="" id="{08BC865A-BE1D-4871-B6C6-F2C1933C87CD}"/>
              </a:ext>
            </a:extLst>
          </p:cNvPr>
          <p:cNvSpPr txBox="1"/>
          <p:nvPr/>
        </p:nvSpPr>
        <p:spPr>
          <a:xfrm>
            <a:off x="4390661" y="3762525"/>
            <a:ext cx="3126069" cy="646331"/>
          </a:xfrm>
          <a:prstGeom prst="rect">
            <a:avLst/>
          </a:prstGeom>
          <a:noFill/>
        </p:spPr>
        <p:txBody>
          <a:bodyPr wrap="square" rtlCol="0" anchor="ctr" anchorCtr="0">
            <a:spAutoFit/>
          </a:bodyPr>
          <a:lstStyle/>
          <a:p>
            <a:r>
              <a:rPr lang="en-GB" b="1" dirty="0">
                <a:solidFill>
                  <a:schemeClr val="bg1"/>
                </a:solidFill>
                <a:latin typeface="+mj-lt"/>
                <a:ea typeface="League Spartan" charset="0"/>
                <a:cs typeface="Poppins" pitchFamily="2" charset="77"/>
              </a:rPr>
              <a:t>Risk performance  implemented in incentive plans</a:t>
            </a:r>
          </a:p>
        </p:txBody>
      </p:sp>
      <p:sp>
        <p:nvSpPr>
          <p:cNvPr id="41" name="TextBox 45">
            <a:extLst>
              <a:ext uri="{FF2B5EF4-FFF2-40B4-BE49-F238E27FC236}">
                <a16:creationId xmlns:a16="http://schemas.microsoft.com/office/drawing/2014/main" xmlns="" id="{42ECC986-8DC1-4E50-8046-7F7F1C9E4BFC}"/>
              </a:ext>
            </a:extLst>
          </p:cNvPr>
          <p:cNvSpPr txBox="1"/>
          <p:nvPr/>
        </p:nvSpPr>
        <p:spPr>
          <a:xfrm>
            <a:off x="4372069" y="4329895"/>
            <a:ext cx="3303057" cy="646331"/>
          </a:xfrm>
          <a:prstGeom prst="rect">
            <a:avLst/>
          </a:prstGeom>
          <a:noFill/>
        </p:spPr>
        <p:txBody>
          <a:bodyPr wrap="square" rtlCol="0" anchor="ctr" anchorCtr="0">
            <a:spAutoFit/>
          </a:bodyPr>
          <a:lstStyle/>
          <a:p>
            <a:r>
              <a:rPr lang="en-GB" b="1" dirty="0">
                <a:solidFill>
                  <a:schemeClr val="bg1"/>
                </a:solidFill>
                <a:latin typeface="+mj-lt"/>
                <a:ea typeface="League Spartan" charset="0"/>
                <a:cs typeface="Poppins" pitchFamily="2" charset="77"/>
              </a:rPr>
              <a:t>Clearly defined roles and responsibilities</a:t>
            </a:r>
          </a:p>
        </p:txBody>
      </p:sp>
    </p:spTree>
    <p:extLst>
      <p:ext uri="{BB962C8B-B14F-4D97-AF65-F5344CB8AC3E}">
        <p14:creationId xmlns:p14="http://schemas.microsoft.com/office/powerpoint/2010/main" val="15493116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2810" y="489731"/>
            <a:ext cx="8852375" cy="697353"/>
          </a:xfrm>
        </p:spPr>
        <p:txBody>
          <a:bodyPr>
            <a:normAutofit/>
          </a:bodyPr>
          <a:lstStyle/>
          <a:p>
            <a:r>
              <a:rPr lang="en-GB" dirty="0"/>
              <a:t>Effects of different Risk Cultur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54584" y="1900009"/>
            <a:ext cx="3232730" cy="44835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 positive risk culture is one where staff at every level appropriately manage risk as an intrinsic part of their day-to-day work. Such a culture supports an open discussion about uncertainties and opportunities, encourages staff to express concerns, and maintains processes to elevate concerns to appropriate levels.</a:t>
            </a:r>
          </a:p>
        </p:txBody>
      </p:sp>
      <p:sp>
        <p:nvSpPr>
          <p:cNvPr id="24" name="Hexagon 1">
            <a:extLst>
              <a:ext uri="{FF2B5EF4-FFF2-40B4-BE49-F238E27FC236}">
                <a16:creationId xmlns:a16="http://schemas.microsoft.com/office/drawing/2014/main" xmlns="" id="{7CB9358B-AD85-47B0-B7A0-D00285240935}"/>
              </a:ext>
            </a:extLst>
          </p:cNvPr>
          <p:cNvSpPr/>
          <p:nvPr/>
        </p:nvSpPr>
        <p:spPr>
          <a:xfrm>
            <a:off x="6466532" y="1918039"/>
            <a:ext cx="1524420" cy="1314155"/>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Roboto Light" panose="02000000000000000000" pitchFamily="2" charset="0"/>
            </a:endParaRPr>
          </a:p>
        </p:txBody>
      </p:sp>
      <p:sp>
        <p:nvSpPr>
          <p:cNvPr id="26" name="Hexagon 2">
            <a:extLst>
              <a:ext uri="{FF2B5EF4-FFF2-40B4-BE49-F238E27FC236}">
                <a16:creationId xmlns:a16="http://schemas.microsoft.com/office/drawing/2014/main" xmlns="" id="{36827406-E0FB-49D1-96BE-E57AE9B701C5}"/>
              </a:ext>
            </a:extLst>
          </p:cNvPr>
          <p:cNvSpPr/>
          <p:nvPr/>
        </p:nvSpPr>
        <p:spPr>
          <a:xfrm>
            <a:off x="7727639" y="2594016"/>
            <a:ext cx="1524420" cy="1314155"/>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Roboto Light" panose="02000000000000000000" pitchFamily="2" charset="0"/>
            </a:endParaRPr>
          </a:p>
        </p:txBody>
      </p:sp>
      <p:cxnSp>
        <p:nvCxnSpPr>
          <p:cNvPr id="31" name="Straight Connector 9">
            <a:extLst>
              <a:ext uri="{FF2B5EF4-FFF2-40B4-BE49-F238E27FC236}">
                <a16:creationId xmlns:a16="http://schemas.microsoft.com/office/drawing/2014/main" xmlns="" id="{1315A51D-DAB5-4581-B60D-25DCBA086C9D}"/>
              </a:ext>
            </a:extLst>
          </p:cNvPr>
          <p:cNvCxnSpPr>
            <a:cxnSpLocks/>
          </p:cNvCxnSpPr>
          <p:nvPr/>
        </p:nvCxnSpPr>
        <p:spPr>
          <a:xfrm flipH="1">
            <a:off x="6096000" y="2577965"/>
            <a:ext cx="663997" cy="16051"/>
          </a:xfrm>
          <a:prstGeom prst="line">
            <a:avLst/>
          </a:prstGeom>
          <a:ln w="38100">
            <a:solidFill>
              <a:schemeClr val="accent1"/>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Straight Connector 11">
            <a:extLst>
              <a:ext uri="{FF2B5EF4-FFF2-40B4-BE49-F238E27FC236}">
                <a16:creationId xmlns:a16="http://schemas.microsoft.com/office/drawing/2014/main" xmlns="" id="{4B28BD15-9A08-4C77-890E-9718818936DC}"/>
              </a:ext>
            </a:extLst>
          </p:cNvPr>
          <p:cNvCxnSpPr>
            <a:cxnSpLocks/>
          </p:cNvCxnSpPr>
          <p:nvPr/>
        </p:nvCxnSpPr>
        <p:spPr>
          <a:xfrm flipH="1">
            <a:off x="8964260" y="3232194"/>
            <a:ext cx="506311" cy="13294"/>
          </a:xfrm>
          <a:prstGeom prst="line">
            <a:avLst/>
          </a:prstGeom>
          <a:ln w="38100">
            <a:solidFill>
              <a:schemeClr val="accent2"/>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Freeform 15">
            <a:extLst>
              <a:ext uri="{FF2B5EF4-FFF2-40B4-BE49-F238E27FC236}">
                <a16:creationId xmlns:a16="http://schemas.microsoft.com/office/drawing/2014/main" xmlns="" id="{C690E0B8-E821-400D-AD23-8EF08DD0A970}"/>
              </a:ext>
            </a:extLst>
          </p:cNvPr>
          <p:cNvSpPr>
            <a:spLocks noChangeArrowheads="1"/>
          </p:cNvSpPr>
          <p:nvPr/>
        </p:nvSpPr>
        <p:spPr bwMode="auto">
          <a:xfrm>
            <a:off x="6962443" y="2148922"/>
            <a:ext cx="572712" cy="510322"/>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GB" sz="567" dirty="0">
              <a:latin typeface="Roboto Light" panose="02000000000000000000" pitchFamily="2" charset="0"/>
            </a:endParaRPr>
          </a:p>
        </p:txBody>
      </p:sp>
      <p:sp>
        <p:nvSpPr>
          <p:cNvPr id="34" name="Freeform 18">
            <a:extLst>
              <a:ext uri="{FF2B5EF4-FFF2-40B4-BE49-F238E27FC236}">
                <a16:creationId xmlns:a16="http://schemas.microsoft.com/office/drawing/2014/main" xmlns="" id="{75C7E8DC-9504-49AF-8D5A-5E83EE7C1902}"/>
              </a:ext>
            </a:extLst>
          </p:cNvPr>
          <p:cNvSpPr>
            <a:spLocks noChangeArrowheads="1"/>
          </p:cNvSpPr>
          <p:nvPr/>
        </p:nvSpPr>
        <p:spPr bwMode="auto">
          <a:xfrm>
            <a:off x="8261718" y="2785380"/>
            <a:ext cx="455387" cy="614864"/>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GB" sz="567" dirty="0">
              <a:latin typeface="Roboto Light" panose="02000000000000000000" pitchFamily="2" charset="0"/>
            </a:endParaRPr>
          </a:p>
        </p:txBody>
      </p:sp>
      <p:sp>
        <p:nvSpPr>
          <p:cNvPr id="36" name="TextBox 19">
            <a:extLst>
              <a:ext uri="{FF2B5EF4-FFF2-40B4-BE49-F238E27FC236}">
                <a16:creationId xmlns:a16="http://schemas.microsoft.com/office/drawing/2014/main" xmlns="" id="{434950ED-520F-43C8-A780-A55E4F12ED47}"/>
              </a:ext>
            </a:extLst>
          </p:cNvPr>
          <p:cNvSpPr txBox="1"/>
          <p:nvPr/>
        </p:nvSpPr>
        <p:spPr>
          <a:xfrm>
            <a:off x="7964265" y="3358574"/>
            <a:ext cx="1050289" cy="484748"/>
          </a:xfrm>
          <a:prstGeom prst="rect">
            <a:avLst/>
          </a:prstGeom>
          <a:noFill/>
        </p:spPr>
        <p:txBody>
          <a:bodyPr wrap="none" rtlCol="0" anchor="ctr" anchorCtr="0">
            <a:spAutoFit/>
          </a:bodyPr>
          <a:lstStyle/>
          <a:p>
            <a:pPr algn="ctr"/>
            <a:r>
              <a:rPr lang="en-GB" sz="1275" b="1" dirty="0">
                <a:solidFill>
                  <a:schemeClr val="bg1"/>
                </a:solidFill>
                <a:latin typeface="Oswald" panose="02000503000000000000" pitchFamily="2" charset="77"/>
                <a:ea typeface="League Spartan" charset="0"/>
                <a:cs typeface="Poppins" pitchFamily="2" charset="77"/>
              </a:rPr>
              <a:t>Negative</a:t>
            </a:r>
            <a:br>
              <a:rPr lang="en-GB" sz="1275" b="1" dirty="0">
                <a:solidFill>
                  <a:schemeClr val="bg1"/>
                </a:solidFill>
                <a:latin typeface="Oswald" panose="02000503000000000000" pitchFamily="2" charset="77"/>
                <a:ea typeface="League Spartan" charset="0"/>
                <a:cs typeface="Poppins" pitchFamily="2" charset="77"/>
              </a:rPr>
            </a:br>
            <a:r>
              <a:rPr lang="en-GB" sz="1275" b="1" dirty="0">
                <a:solidFill>
                  <a:schemeClr val="bg1"/>
                </a:solidFill>
                <a:latin typeface="Oswald" panose="02000503000000000000" pitchFamily="2" charset="77"/>
                <a:ea typeface="League Spartan" charset="0"/>
                <a:cs typeface="Poppins" pitchFamily="2" charset="77"/>
              </a:rPr>
              <a:t>Risk Cultures</a:t>
            </a:r>
          </a:p>
        </p:txBody>
      </p:sp>
      <p:sp>
        <p:nvSpPr>
          <p:cNvPr id="38" name="TextBox 22">
            <a:extLst>
              <a:ext uri="{FF2B5EF4-FFF2-40B4-BE49-F238E27FC236}">
                <a16:creationId xmlns:a16="http://schemas.microsoft.com/office/drawing/2014/main" xmlns="" id="{31BE4189-CA71-488A-B643-9F3F3446B678}"/>
              </a:ext>
            </a:extLst>
          </p:cNvPr>
          <p:cNvSpPr txBox="1"/>
          <p:nvPr/>
        </p:nvSpPr>
        <p:spPr>
          <a:xfrm>
            <a:off x="6723657" y="2669845"/>
            <a:ext cx="1050289" cy="484748"/>
          </a:xfrm>
          <a:prstGeom prst="rect">
            <a:avLst/>
          </a:prstGeom>
          <a:noFill/>
        </p:spPr>
        <p:txBody>
          <a:bodyPr wrap="none" rtlCol="0" anchor="ctr" anchorCtr="0">
            <a:spAutoFit/>
          </a:bodyPr>
          <a:lstStyle/>
          <a:p>
            <a:pPr algn="ctr"/>
            <a:r>
              <a:rPr lang="en-GB" sz="1275" b="1" dirty="0">
                <a:solidFill>
                  <a:schemeClr val="bg1"/>
                </a:solidFill>
                <a:latin typeface="Oswald" panose="02000503000000000000" pitchFamily="2" charset="77"/>
                <a:ea typeface="League Spartan" charset="0"/>
                <a:cs typeface="Poppins" pitchFamily="2" charset="77"/>
              </a:rPr>
              <a:t>Positive</a:t>
            </a:r>
            <a:br>
              <a:rPr lang="en-GB" sz="1275" b="1" dirty="0">
                <a:solidFill>
                  <a:schemeClr val="bg1"/>
                </a:solidFill>
                <a:latin typeface="Oswald" panose="02000503000000000000" pitchFamily="2" charset="77"/>
                <a:ea typeface="League Spartan" charset="0"/>
                <a:cs typeface="Poppins" pitchFamily="2" charset="77"/>
              </a:rPr>
            </a:br>
            <a:r>
              <a:rPr lang="en-GB" sz="1275" b="1" dirty="0">
                <a:solidFill>
                  <a:schemeClr val="bg1"/>
                </a:solidFill>
                <a:latin typeface="Oswald" panose="02000503000000000000" pitchFamily="2" charset="77"/>
                <a:ea typeface="League Spartan" charset="0"/>
                <a:cs typeface="Poppins" pitchFamily="2" charset="77"/>
              </a:rPr>
              <a:t>Risk Cultures</a:t>
            </a:r>
          </a:p>
        </p:txBody>
      </p:sp>
      <p:sp>
        <p:nvSpPr>
          <p:cNvPr id="40" name="Subtitle 2">
            <a:extLst>
              <a:ext uri="{FF2B5EF4-FFF2-40B4-BE49-F238E27FC236}">
                <a16:creationId xmlns:a16="http://schemas.microsoft.com/office/drawing/2014/main" xmlns="" id="{1E116AB5-48B3-405D-87EF-9EEA164FB8FF}"/>
              </a:ext>
            </a:extLst>
          </p:cNvPr>
          <p:cNvSpPr txBox="1">
            <a:spLocks/>
          </p:cNvSpPr>
          <p:nvPr/>
        </p:nvSpPr>
        <p:spPr>
          <a:xfrm>
            <a:off x="9360878" y="1780266"/>
            <a:ext cx="2831122" cy="533304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Misalignment</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Blind spot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ncubation of crise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Recklessnes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uppressing feedback, sharing, learning</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uffocating initiative</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Groupthink</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Pressure &amp; stress effect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Over-powerful leader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Can be toxic to performance and reputation</a:t>
            </a:r>
          </a:p>
          <a:p>
            <a:pPr marL="171450" indent="-171450" algn="l">
              <a:lnSpc>
                <a:spcPts val="1388"/>
              </a:lnSpc>
              <a:buFont typeface="Arial" panose="020B0604020202020204" pitchFamily="34" charset="0"/>
              <a:buChar char="•"/>
            </a:pPr>
            <a:endParaRPr lang="en-GB" sz="1600" dirty="0">
              <a:solidFill>
                <a:schemeClr val="tx1"/>
              </a:solidFill>
              <a:latin typeface="+mj-lt"/>
              <a:ea typeface="Open Sans Light" panose="020B0306030504020204" pitchFamily="34" charset="0"/>
              <a:cs typeface="Open Sans Light" panose="020B0306030504020204" pitchFamily="34" charset="0"/>
            </a:endParaRPr>
          </a:p>
          <a:p>
            <a:pPr marL="171450" indent="-171450" algn="l">
              <a:lnSpc>
                <a:spcPts val="1388"/>
              </a:lnSpc>
              <a:buFont typeface="Arial" panose="020B0604020202020204" pitchFamily="34" charset="0"/>
              <a:buChar char="•"/>
            </a:pPr>
            <a:endParaRPr lang="en-GB" sz="1600" dirty="0">
              <a:solidFill>
                <a:schemeClr val="tx1"/>
              </a:solidFill>
              <a:latin typeface="+mj-lt"/>
              <a:ea typeface="Open Sans Light" panose="020B0306030504020204" pitchFamily="34" charset="0"/>
              <a:cs typeface="Open Sans Light" panose="020B0306030504020204" pitchFamily="34" charset="0"/>
            </a:endParaRPr>
          </a:p>
          <a:p>
            <a:pPr marL="171450" indent="-171450" algn="l">
              <a:lnSpc>
                <a:spcPts val="1388"/>
              </a:lnSpc>
              <a:buFont typeface="Arial" panose="020B0604020202020204" pitchFamily="34" charset="0"/>
              <a:buChar char="•"/>
            </a:pPr>
            <a:endParaRPr lang="en-GB" sz="1600" dirty="0">
              <a:solidFill>
                <a:schemeClr val="tx1"/>
              </a:solidFill>
              <a:latin typeface="+mj-lt"/>
              <a:ea typeface="Open Sans Light" panose="020B0306030504020204" pitchFamily="34" charset="0"/>
              <a:cs typeface="Open Sans Light" panose="020B0306030504020204" pitchFamily="34" charset="0"/>
            </a:endParaRPr>
          </a:p>
        </p:txBody>
      </p:sp>
      <p:sp>
        <p:nvSpPr>
          <p:cNvPr id="42" name="Subtitle 2">
            <a:extLst>
              <a:ext uri="{FF2B5EF4-FFF2-40B4-BE49-F238E27FC236}">
                <a16:creationId xmlns:a16="http://schemas.microsoft.com/office/drawing/2014/main" xmlns="" id="{7D562599-902C-4F92-BF8F-D90795F0AB8E}"/>
              </a:ext>
            </a:extLst>
          </p:cNvPr>
          <p:cNvSpPr txBox="1">
            <a:spLocks/>
          </p:cNvSpPr>
          <p:nvPr/>
        </p:nvSpPr>
        <p:spPr>
          <a:xfrm>
            <a:off x="3948265" y="1938293"/>
            <a:ext cx="2553823" cy="451435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erves as a barometer</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Reinforces message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Guide for judgement</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Reduces error, permits learning</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Promotes consistency and allows flexibility</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lert to ‘weak signals’</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llows reflection</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Boosts performance, confidence, engagement</a:t>
            </a:r>
          </a:p>
        </p:txBody>
      </p:sp>
    </p:spTree>
    <p:extLst>
      <p:ext uri="{BB962C8B-B14F-4D97-AF65-F5344CB8AC3E}">
        <p14:creationId xmlns:p14="http://schemas.microsoft.com/office/powerpoint/2010/main" val="2030604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03188" y="492388"/>
            <a:ext cx="8852375" cy="697353"/>
          </a:xfrm>
        </p:spPr>
        <p:txBody>
          <a:bodyPr>
            <a:normAutofit/>
          </a:bodyPr>
          <a:lstStyle/>
          <a:p>
            <a:r>
              <a:rPr lang="en-GB" dirty="0"/>
              <a:t>Integrating ERM into decision-making</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17508" y="1850405"/>
            <a:ext cx="3280214" cy="422197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o be effective, risk management must be integrated into day-to-day business line activities and corporate short-, mid- and long-term decisions.</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ntegrating ERM and strategic planning can make strategic plans stronger while helping focus limited resources on the risks and issues that matter most.</a:t>
            </a:r>
          </a:p>
        </p:txBody>
      </p:sp>
      <p:grpSp>
        <p:nvGrpSpPr>
          <p:cNvPr id="24" name="Group 4">
            <a:extLst>
              <a:ext uri="{FF2B5EF4-FFF2-40B4-BE49-F238E27FC236}">
                <a16:creationId xmlns:a16="http://schemas.microsoft.com/office/drawing/2014/main" xmlns="" id="{070B6978-52C2-477E-8FFC-37CB3F764DF4}"/>
              </a:ext>
            </a:extLst>
          </p:cNvPr>
          <p:cNvGrpSpPr/>
          <p:nvPr/>
        </p:nvGrpSpPr>
        <p:grpSpPr>
          <a:xfrm>
            <a:off x="10398744" y="2096641"/>
            <a:ext cx="907531" cy="2086242"/>
            <a:chOff x="18338273" y="2819818"/>
            <a:chExt cx="2419452" cy="5561863"/>
          </a:xfrm>
        </p:grpSpPr>
        <p:sp>
          <p:nvSpPr>
            <p:cNvPr id="26" name="Freeform 1">
              <a:extLst>
                <a:ext uri="{FF2B5EF4-FFF2-40B4-BE49-F238E27FC236}">
                  <a16:creationId xmlns:a16="http://schemas.microsoft.com/office/drawing/2014/main" xmlns="" id="{092DF170-3BF8-4E91-A8E2-8446ACFF0755}"/>
                </a:ext>
              </a:extLst>
            </p:cNvPr>
            <p:cNvSpPr>
              <a:spLocks noChangeArrowheads="1"/>
            </p:cNvSpPr>
            <p:nvPr/>
          </p:nvSpPr>
          <p:spPr bwMode="auto">
            <a:xfrm>
              <a:off x="18802001" y="2819818"/>
              <a:ext cx="1955724" cy="5561863"/>
            </a:xfrm>
            <a:custGeom>
              <a:avLst/>
              <a:gdLst>
                <a:gd name="T0" fmla="*/ 1497 w 2994"/>
                <a:gd name="T1" fmla="*/ 0 h 8514"/>
                <a:gd name="T2" fmla="*/ 788 w 2994"/>
                <a:gd name="T3" fmla="*/ 0 h 8514"/>
                <a:gd name="T4" fmla="*/ 788 w 2994"/>
                <a:gd name="T5" fmla="*/ 506 h 8514"/>
                <a:gd name="T6" fmla="*/ 788 w 2994"/>
                <a:gd name="T7" fmla="*/ 506 h 8514"/>
                <a:gd name="T8" fmla="*/ 0 w 2994"/>
                <a:gd name="T9" fmla="*/ 4256 h 8514"/>
                <a:gd name="T10" fmla="*/ 0 w 2994"/>
                <a:gd name="T11" fmla="*/ 4256 h 8514"/>
                <a:gd name="T12" fmla="*/ 788 w 2994"/>
                <a:gd name="T13" fmla="*/ 8005 h 8514"/>
                <a:gd name="T14" fmla="*/ 788 w 2994"/>
                <a:gd name="T15" fmla="*/ 8513 h 8514"/>
                <a:gd name="T16" fmla="*/ 1497 w 2994"/>
                <a:gd name="T17" fmla="*/ 8513 h 8514"/>
                <a:gd name="T18" fmla="*/ 1497 w 2994"/>
                <a:gd name="T19" fmla="*/ 8513 h 8514"/>
                <a:gd name="T20" fmla="*/ 2993 w 2994"/>
                <a:gd name="T21" fmla="*/ 4256 h 8514"/>
                <a:gd name="T22" fmla="*/ 2993 w 2994"/>
                <a:gd name="T23" fmla="*/ 4256 h 8514"/>
                <a:gd name="T24" fmla="*/ 1497 w 2994"/>
                <a:gd name="T25" fmla="*/ 0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4" h="8514">
                  <a:moveTo>
                    <a:pt x="1497" y="0"/>
                  </a:moveTo>
                  <a:lnTo>
                    <a:pt x="788" y="0"/>
                  </a:lnTo>
                  <a:lnTo>
                    <a:pt x="788" y="506"/>
                  </a:lnTo>
                  <a:lnTo>
                    <a:pt x="788" y="506"/>
                  </a:lnTo>
                  <a:cubicBezTo>
                    <a:pt x="319" y="1226"/>
                    <a:pt x="0" y="2635"/>
                    <a:pt x="0" y="4256"/>
                  </a:cubicBezTo>
                  <a:lnTo>
                    <a:pt x="0" y="4256"/>
                  </a:lnTo>
                  <a:cubicBezTo>
                    <a:pt x="0" y="5877"/>
                    <a:pt x="319" y="7287"/>
                    <a:pt x="788" y="8005"/>
                  </a:cubicBezTo>
                  <a:lnTo>
                    <a:pt x="788" y="8513"/>
                  </a:lnTo>
                  <a:lnTo>
                    <a:pt x="1497" y="8513"/>
                  </a:lnTo>
                  <a:lnTo>
                    <a:pt x="1497" y="8513"/>
                  </a:lnTo>
                  <a:cubicBezTo>
                    <a:pt x="2323" y="8513"/>
                    <a:pt x="2993" y="6606"/>
                    <a:pt x="2993" y="4256"/>
                  </a:cubicBezTo>
                  <a:lnTo>
                    <a:pt x="2993" y="4256"/>
                  </a:lnTo>
                  <a:cubicBezTo>
                    <a:pt x="2993" y="1905"/>
                    <a:pt x="2323" y="0"/>
                    <a:pt x="1497" y="0"/>
                  </a:cubicBezTo>
                </a:path>
              </a:pathLst>
            </a:custGeom>
            <a:solidFill>
              <a:schemeClr val="accent5">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1" name="Freeform 2">
              <a:extLst>
                <a:ext uri="{FF2B5EF4-FFF2-40B4-BE49-F238E27FC236}">
                  <a16:creationId xmlns:a16="http://schemas.microsoft.com/office/drawing/2014/main" xmlns="" id="{48E05939-3A01-41C1-BF9A-354A57772D9D}"/>
                </a:ext>
              </a:extLst>
            </p:cNvPr>
            <p:cNvSpPr>
              <a:spLocks noChangeArrowheads="1"/>
            </p:cNvSpPr>
            <p:nvPr/>
          </p:nvSpPr>
          <p:spPr bwMode="auto">
            <a:xfrm>
              <a:off x="18338273" y="2819818"/>
              <a:ext cx="1955726" cy="5561863"/>
            </a:xfrm>
            <a:custGeom>
              <a:avLst/>
              <a:gdLst>
                <a:gd name="T0" fmla="*/ 2991 w 2992"/>
                <a:gd name="T1" fmla="*/ 4256 h 8514"/>
                <a:gd name="T2" fmla="*/ 2991 w 2992"/>
                <a:gd name="T3" fmla="*/ 4256 h 8514"/>
                <a:gd name="T4" fmla="*/ 1496 w 2992"/>
                <a:gd name="T5" fmla="*/ 8513 h 8514"/>
                <a:gd name="T6" fmla="*/ 1496 w 2992"/>
                <a:gd name="T7" fmla="*/ 8513 h 8514"/>
                <a:gd name="T8" fmla="*/ 0 w 2992"/>
                <a:gd name="T9" fmla="*/ 4256 h 8514"/>
                <a:gd name="T10" fmla="*/ 0 w 2992"/>
                <a:gd name="T11" fmla="*/ 4256 h 8514"/>
                <a:gd name="T12" fmla="*/ 1496 w 2992"/>
                <a:gd name="T13" fmla="*/ 0 h 8514"/>
                <a:gd name="T14" fmla="*/ 1496 w 2992"/>
                <a:gd name="T15" fmla="*/ 0 h 8514"/>
                <a:gd name="T16" fmla="*/ 2991 w 2992"/>
                <a:gd name="T17" fmla="*/ 4256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2" h="8514">
                  <a:moveTo>
                    <a:pt x="2991" y="4256"/>
                  </a:moveTo>
                  <a:lnTo>
                    <a:pt x="2991" y="4256"/>
                  </a:lnTo>
                  <a:cubicBezTo>
                    <a:pt x="2991" y="6606"/>
                    <a:pt x="2322" y="8513"/>
                    <a:pt x="1496" y="8513"/>
                  </a:cubicBezTo>
                  <a:lnTo>
                    <a:pt x="1496" y="8513"/>
                  </a:lnTo>
                  <a:cubicBezTo>
                    <a:pt x="669" y="8513"/>
                    <a:pt x="0" y="6606"/>
                    <a:pt x="0" y="4256"/>
                  </a:cubicBezTo>
                  <a:lnTo>
                    <a:pt x="0" y="4256"/>
                  </a:lnTo>
                  <a:cubicBezTo>
                    <a:pt x="0" y="1905"/>
                    <a:pt x="669" y="0"/>
                    <a:pt x="1496" y="0"/>
                  </a:cubicBezTo>
                  <a:lnTo>
                    <a:pt x="1496" y="0"/>
                  </a:lnTo>
                  <a:cubicBezTo>
                    <a:pt x="2322" y="0"/>
                    <a:pt x="2991" y="1905"/>
                    <a:pt x="2991" y="425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2" name="Freeform 3">
              <a:extLst>
                <a:ext uri="{FF2B5EF4-FFF2-40B4-BE49-F238E27FC236}">
                  <a16:creationId xmlns:a16="http://schemas.microsoft.com/office/drawing/2014/main" xmlns="" id="{2556E5FC-A934-4764-A372-E2914D805419}"/>
                </a:ext>
              </a:extLst>
            </p:cNvPr>
            <p:cNvSpPr>
              <a:spLocks noChangeArrowheads="1"/>
            </p:cNvSpPr>
            <p:nvPr/>
          </p:nvSpPr>
          <p:spPr bwMode="auto">
            <a:xfrm>
              <a:off x="18459245" y="3381476"/>
              <a:ext cx="1561124" cy="4438547"/>
            </a:xfrm>
            <a:custGeom>
              <a:avLst/>
              <a:gdLst>
                <a:gd name="T0" fmla="*/ 2388 w 2389"/>
                <a:gd name="T1" fmla="*/ 3398 h 6796"/>
                <a:gd name="T2" fmla="*/ 2388 w 2389"/>
                <a:gd name="T3" fmla="*/ 3398 h 6796"/>
                <a:gd name="T4" fmla="*/ 1194 w 2389"/>
                <a:gd name="T5" fmla="*/ 6795 h 6796"/>
                <a:gd name="T6" fmla="*/ 1194 w 2389"/>
                <a:gd name="T7" fmla="*/ 6795 h 6796"/>
                <a:gd name="T8" fmla="*/ 0 w 2389"/>
                <a:gd name="T9" fmla="*/ 3398 h 6796"/>
                <a:gd name="T10" fmla="*/ 0 w 2389"/>
                <a:gd name="T11" fmla="*/ 3398 h 6796"/>
                <a:gd name="T12" fmla="*/ 1194 w 2389"/>
                <a:gd name="T13" fmla="*/ 0 h 6796"/>
                <a:gd name="T14" fmla="*/ 1194 w 2389"/>
                <a:gd name="T15" fmla="*/ 0 h 6796"/>
                <a:gd name="T16" fmla="*/ 2388 w 2389"/>
                <a:gd name="T17" fmla="*/ 3398 h 6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9" h="6796">
                  <a:moveTo>
                    <a:pt x="2388" y="3398"/>
                  </a:moveTo>
                  <a:lnTo>
                    <a:pt x="2388" y="3398"/>
                  </a:lnTo>
                  <a:cubicBezTo>
                    <a:pt x="2388" y="5275"/>
                    <a:pt x="1853" y="6795"/>
                    <a:pt x="1194" y="6795"/>
                  </a:cubicBezTo>
                  <a:lnTo>
                    <a:pt x="1194" y="6795"/>
                  </a:lnTo>
                  <a:cubicBezTo>
                    <a:pt x="534" y="6795"/>
                    <a:pt x="0" y="5275"/>
                    <a:pt x="0" y="3398"/>
                  </a:cubicBezTo>
                  <a:lnTo>
                    <a:pt x="0" y="3398"/>
                  </a:lnTo>
                  <a:cubicBezTo>
                    <a:pt x="0" y="1521"/>
                    <a:pt x="534" y="0"/>
                    <a:pt x="1194" y="0"/>
                  </a:cubicBezTo>
                  <a:lnTo>
                    <a:pt x="1194" y="0"/>
                  </a:lnTo>
                  <a:cubicBezTo>
                    <a:pt x="1853" y="0"/>
                    <a:pt x="2388" y="1521"/>
                    <a:pt x="2388" y="3398"/>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3" name="Freeform 4">
              <a:extLst>
                <a:ext uri="{FF2B5EF4-FFF2-40B4-BE49-F238E27FC236}">
                  <a16:creationId xmlns:a16="http://schemas.microsoft.com/office/drawing/2014/main" xmlns="" id="{8D9E8F34-BC8F-4D6D-BF9F-263503AA19D6}"/>
                </a:ext>
              </a:extLst>
            </p:cNvPr>
            <p:cNvSpPr>
              <a:spLocks noChangeArrowheads="1"/>
            </p:cNvSpPr>
            <p:nvPr/>
          </p:nvSpPr>
          <p:spPr bwMode="auto">
            <a:xfrm>
              <a:off x="18597500" y="4020903"/>
              <a:ext cx="1111797" cy="3159693"/>
            </a:xfrm>
            <a:custGeom>
              <a:avLst/>
              <a:gdLst>
                <a:gd name="T0" fmla="*/ 1701 w 1702"/>
                <a:gd name="T1" fmla="*/ 2419 h 4838"/>
                <a:gd name="T2" fmla="*/ 1701 w 1702"/>
                <a:gd name="T3" fmla="*/ 2419 h 4838"/>
                <a:gd name="T4" fmla="*/ 851 w 1702"/>
                <a:gd name="T5" fmla="*/ 4837 h 4838"/>
                <a:gd name="T6" fmla="*/ 851 w 1702"/>
                <a:gd name="T7" fmla="*/ 4837 h 4838"/>
                <a:gd name="T8" fmla="*/ 0 w 1702"/>
                <a:gd name="T9" fmla="*/ 2419 h 4838"/>
                <a:gd name="T10" fmla="*/ 0 w 1702"/>
                <a:gd name="T11" fmla="*/ 2419 h 4838"/>
                <a:gd name="T12" fmla="*/ 851 w 1702"/>
                <a:gd name="T13" fmla="*/ 0 h 4838"/>
                <a:gd name="T14" fmla="*/ 851 w 1702"/>
                <a:gd name="T15" fmla="*/ 0 h 4838"/>
                <a:gd name="T16" fmla="*/ 1701 w 1702"/>
                <a:gd name="T17" fmla="*/ 2419 h 4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2" h="4838">
                  <a:moveTo>
                    <a:pt x="1701" y="2419"/>
                  </a:moveTo>
                  <a:lnTo>
                    <a:pt x="1701" y="2419"/>
                  </a:lnTo>
                  <a:cubicBezTo>
                    <a:pt x="1701" y="3755"/>
                    <a:pt x="1320" y="4837"/>
                    <a:pt x="851" y="4837"/>
                  </a:cubicBezTo>
                  <a:lnTo>
                    <a:pt x="851" y="4837"/>
                  </a:lnTo>
                  <a:cubicBezTo>
                    <a:pt x="381" y="4837"/>
                    <a:pt x="0" y="3755"/>
                    <a:pt x="0" y="2419"/>
                  </a:cubicBezTo>
                  <a:lnTo>
                    <a:pt x="0" y="2419"/>
                  </a:lnTo>
                  <a:cubicBezTo>
                    <a:pt x="0" y="1083"/>
                    <a:pt x="381" y="0"/>
                    <a:pt x="851" y="0"/>
                  </a:cubicBezTo>
                  <a:lnTo>
                    <a:pt x="851" y="0"/>
                  </a:lnTo>
                  <a:cubicBezTo>
                    <a:pt x="1320" y="0"/>
                    <a:pt x="1701" y="1083"/>
                    <a:pt x="1701" y="2419"/>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4" name="Freeform 5">
              <a:extLst>
                <a:ext uri="{FF2B5EF4-FFF2-40B4-BE49-F238E27FC236}">
                  <a16:creationId xmlns:a16="http://schemas.microsoft.com/office/drawing/2014/main" xmlns="" id="{74C07B43-516A-43A4-9FC6-D076420C3631}"/>
                </a:ext>
              </a:extLst>
            </p:cNvPr>
            <p:cNvSpPr>
              <a:spLocks noChangeArrowheads="1"/>
            </p:cNvSpPr>
            <p:nvPr/>
          </p:nvSpPr>
          <p:spPr bwMode="auto">
            <a:xfrm>
              <a:off x="18732874" y="4556639"/>
              <a:ext cx="734476" cy="2088220"/>
            </a:xfrm>
            <a:custGeom>
              <a:avLst/>
              <a:gdLst>
                <a:gd name="T0" fmla="*/ 1123 w 1124"/>
                <a:gd name="T1" fmla="*/ 1597 h 3195"/>
                <a:gd name="T2" fmla="*/ 1123 w 1124"/>
                <a:gd name="T3" fmla="*/ 1597 h 3195"/>
                <a:gd name="T4" fmla="*/ 561 w 1124"/>
                <a:gd name="T5" fmla="*/ 3194 h 3195"/>
                <a:gd name="T6" fmla="*/ 561 w 1124"/>
                <a:gd name="T7" fmla="*/ 3194 h 3195"/>
                <a:gd name="T8" fmla="*/ 0 w 1124"/>
                <a:gd name="T9" fmla="*/ 1597 h 3195"/>
                <a:gd name="T10" fmla="*/ 0 w 1124"/>
                <a:gd name="T11" fmla="*/ 1597 h 3195"/>
                <a:gd name="T12" fmla="*/ 561 w 1124"/>
                <a:gd name="T13" fmla="*/ 0 h 3195"/>
                <a:gd name="T14" fmla="*/ 561 w 1124"/>
                <a:gd name="T15" fmla="*/ 0 h 3195"/>
                <a:gd name="T16" fmla="*/ 1123 w 1124"/>
                <a:gd name="T17" fmla="*/ 1597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4" h="3195">
                  <a:moveTo>
                    <a:pt x="1123" y="1597"/>
                  </a:moveTo>
                  <a:lnTo>
                    <a:pt x="1123" y="1597"/>
                  </a:lnTo>
                  <a:cubicBezTo>
                    <a:pt x="1123" y="2479"/>
                    <a:pt x="871" y="3194"/>
                    <a:pt x="561" y="3194"/>
                  </a:cubicBezTo>
                  <a:lnTo>
                    <a:pt x="561" y="3194"/>
                  </a:lnTo>
                  <a:cubicBezTo>
                    <a:pt x="252" y="3194"/>
                    <a:pt x="0" y="2479"/>
                    <a:pt x="0" y="1597"/>
                  </a:cubicBezTo>
                  <a:lnTo>
                    <a:pt x="0" y="1597"/>
                  </a:lnTo>
                  <a:cubicBezTo>
                    <a:pt x="0" y="714"/>
                    <a:pt x="252" y="0"/>
                    <a:pt x="561" y="0"/>
                  </a:cubicBezTo>
                  <a:lnTo>
                    <a:pt x="561" y="0"/>
                  </a:lnTo>
                  <a:cubicBezTo>
                    <a:pt x="871" y="0"/>
                    <a:pt x="1123" y="714"/>
                    <a:pt x="1123" y="1597"/>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6" name="Freeform 6">
              <a:extLst>
                <a:ext uri="{FF2B5EF4-FFF2-40B4-BE49-F238E27FC236}">
                  <a16:creationId xmlns:a16="http://schemas.microsoft.com/office/drawing/2014/main" xmlns="" id="{D6302ACD-65E1-4921-96AA-4EF1652A9729}"/>
                </a:ext>
              </a:extLst>
            </p:cNvPr>
            <p:cNvSpPr>
              <a:spLocks noChangeArrowheads="1"/>
            </p:cNvSpPr>
            <p:nvPr/>
          </p:nvSpPr>
          <p:spPr bwMode="auto">
            <a:xfrm>
              <a:off x="18885530" y="5132700"/>
              <a:ext cx="328354" cy="936099"/>
            </a:xfrm>
            <a:custGeom>
              <a:avLst/>
              <a:gdLst>
                <a:gd name="T0" fmla="*/ 503 w 504"/>
                <a:gd name="T1" fmla="*/ 716 h 1432"/>
                <a:gd name="T2" fmla="*/ 503 w 504"/>
                <a:gd name="T3" fmla="*/ 716 h 1432"/>
                <a:gd name="T4" fmla="*/ 252 w 504"/>
                <a:gd name="T5" fmla="*/ 1431 h 1432"/>
                <a:gd name="T6" fmla="*/ 252 w 504"/>
                <a:gd name="T7" fmla="*/ 1431 h 1432"/>
                <a:gd name="T8" fmla="*/ 0 w 504"/>
                <a:gd name="T9" fmla="*/ 716 h 1432"/>
                <a:gd name="T10" fmla="*/ 0 w 504"/>
                <a:gd name="T11" fmla="*/ 716 h 1432"/>
                <a:gd name="T12" fmla="*/ 252 w 504"/>
                <a:gd name="T13" fmla="*/ 0 h 1432"/>
                <a:gd name="T14" fmla="*/ 252 w 504"/>
                <a:gd name="T15" fmla="*/ 0 h 1432"/>
                <a:gd name="T16" fmla="*/ 503 w 504"/>
                <a:gd name="T17" fmla="*/ 716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1432">
                  <a:moveTo>
                    <a:pt x="503" y="716"/>
                  </a:moveTo>
                  <a:lnTo>
                    <a:pt x="503" y="716"/>
                  </a:lnTo>
                  <a:cubicBezTo>
                    <a:pt x="503" y="1112"/>
                    <a:pt x="390" y="1431"/>
                    <a:pt x="252" y="1431"/>
                  </a:cubicBezTo>
                  <a:lnTo>
                    <a:pt x="252" y="1431"/>
                  </a:lnTo>
                  <a:cubicBezTo>
                    <a:pt x="113" y="1431"/>
                    <a:pt x="0" y="1112"/>
                    <a:pt x="0" y="716"/>
                  </a:cubicBezTo>
                  <a:lnTo>
                    <a:pt x="0" y="716"/>
                  </a:lnTo>
                  <a:cubicBezTo>
                    <a:pt x="0" y="321"/>
                    <a:pt x="113" y="0"/>
                    <a:pt x="252" y="0"/>
                  </a:cubicBezTo>
                  <a:lnTo>
                    <a:pt x="252" y="0"/>
                  </a:lnTo>
                  <a:cubicBezTo>
                    <a:pt x="390" y="0"/>
                    <a:pt x="503" y="321"/>
                    <a:pt x="503" y="71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grpSp>
      <p:sp>
        <p:nvSpPr>
          <p:cNvPr id="38" name="Right Arrow 11">
            <a:extLst>
              <a:ext uri="{FF2B5EF4-FFF2-40B4-BE49-F238E27FC236}">
                <a16:creationId xmlns:a16="http://schemas.microsoft.com/office/drawing/2014/main" xmlns="" id="{308C9244-E9F4-4F57-BCA8-1F8B1D01ABA1}"/>
              </a:ext>
            </a:extLst>
          </p:cNvPr>
          <p:cNvSpPr/>
          <p:nvPr/>
        </p:nvSpPr>
        <p:spPr>
          <a:xfrm rot="20602143">
            <a:off x="3587798" y="4017516"/>
            <a:ext cx="7235138" cy="295488"/>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0" name="Oval 12">
            <a:extLst>
              <a:ext uri="{FF2B5EF4-FFF2-40B4-BE49-F238E27FC236}">
                <a16:creationId xmlns:a16="http://schemas.microsoft.com/office/drawing/2014/main" xmlns="" id="{54FE7DEE-EB85-48D0-8EF2-E28288AF4349}"/>
              </a:ext>
            </a:extLst>
          </p:cNvPr>
          <p:cNvSpPr/>
          <p:nvPr/>
        </p:nvSpPr>
        <p:spPr>
          <a:xfrm>
            <a:off x="4094297" y="4658035"/>
            <a:ext cx="675585" cy="675585"/>
          </a:xfrm>
          <a:prstGeom prst="ellipse">
            <a:avLst/>
          </a:prstGeom>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2" name="Oval 13">
            <a:extLst>
              <a:ext uri="{FF2B5EF4-FFF2-40B4-BE49-F238E27FC236}">
                <a16:creationId xmlns:a16="http://schemas.microsoft.com/office/drawing/2014/main" xmlns="" id="{3021BB9E-B2B0-4A4E-8417-6F11E1C234FB}"/>
              </a:ext>
            </a:extLst>
          </p:cNvPr>
          <p:cNvSpPr/>
          <p:nvPr/>
        </p:nvSpPr>
        <p:spPr>
          <a:xfrm>
            <a:off x="5693197" y="4174309"/>
            <a:ext cx="675585" cy="675585"/>
          </a:xfrm>
          <a:prstGeom prst="ellipse">
            <a:avLst/>
          </a:prstGeom>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3" name="Oval 14">
            <a:extLst>
              <a:ext uri="{FF2B5EF4-FFF2-40B4-BE49-F238E27FC236}">
                <a16:creationId xmlns:a16="http://schemas.microsoft.com/office/drawing/2014/main" xmlns="" id="{19F82428-3FC8-4EEE-917F-052449F994A6}"/>
              </a:ext>
            </a:extLst>
          </p:cNvPr>
          <p:cNvSpPr/>
          <p:nvPr/>
        </p:nvSpPr>
        <p:spPr>
          <a:xfrm>
            <a:off x="7292097" y="3698061"/>
            <a:ext cx="675585" cy="675585"/>
          </a:xfrm>
          <a:prstGeom prst="ellipse">
            <a:avLst/>
          </a:prstGeom>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4" name="Oval 15">
            <a:extLst>
              <a:ext uri="{FF2B5EF4-FFF2-40B4-BE49-F238E27FC236}">
                <a16:creationId xmlns:a16="http://schemas.microsoft.com/office/drawing/2014/main" xmlns="" id="{76038C27-D81C-46D7-B596-5D668FC6D5B1}"/>
              </a:ext>
            </a:extLst>
          </p:cNvPr>
          <p:cNvSpPr/>
          <p:nvPr/>
        </p:nvSpPr>
        <p:spPr>
          <a:xfrm>
            <a:off x="8890997" y="3227912"/>
            <a:ext cx="675585" cy="675585"/>
          </a:xfrm>
          <a:prstGeom prst="ellipse">
            <a:avLst/>
          </a:prstGeom>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5" name="Rectangle 20">
            <a:extLst>
              <a:ext uri="{FF2B5EF4-FFF2-40B4-BE49-F238E27FC236}">
                <a16:creationId xmlns:a16="http://schemas.microsoft.com/office/drawing/2014/main" xmlns="" id="{AD0112D8-9807-4B4F-A347-A882E122BFE4}"/>
              </a:ext>
            </a:extLst>
          </p:cNvPr>
          <p:cNvSpPr/>
          <p:nvPr/>
        </p:nvSpPr>
        <p:spPr>
          <a:xfrm>
            <a:off x="5693196" y="4999859"/>
            <a:ext cx="36180" cy="8980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6" name="Rectangle 21">
            <a:extLst>
              <a:ext uri="{FF2B5EF4-FFF2-40B4-BE49-F238E27FC236}">
                <a16:creationId xmlns:a16="http://schemas.microsoft.com/office/drawing/2014/main" xmlns="" id="{E270C971-EFD7-42E4-9A94-2F898C9687EB}"/>
              </a:ext>
            </a:extLst>
          </p:cNvPr>
          <p:cNvSpPr/>
          <p:nvPr/>
        </p:nvSpPr>
        <p:spPr>
          <a:xfrm>
            <a:off x="8890996" y="4039884"/>
            <a:ext cx="36180" cy="8980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7" name="Rectangle 22">
            <a:extLst>
              <a:ext uri="{FF2B5EF4-FFF2-40B4-BE49-F238E27FC236}">
                <a16:creationId xmlns:a16="http://schemas.microsoft.com/office/drawing/2014/main" xmlns="" id="{92B6465E-F563-4122-893C-418CD7554F65}"/>
              </a:ext>
            </a:extLst>
          </p:cNvPr>
          <p:cNvSpPr/>
          <p:nvPr/>
        </p:nvSpPr>
        <p:spPr>
          <a:xfrm>
            <a:off x="4094296" y="3592908"/>
            <a:ext cx="36180" cy="8980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8" name="Rectangle 23">
            <a:extLst>
              <a:ext uri="{FF2B5EF4-FFF2-40B4-BE49-F238E27FC236}">
                <a16:creationId xmlns:a16="http://schemas.microsoft.com/office/drawing/2014/main" xmlns="" id="{D198DAEA-3F40-44F5-9220-0FD28906487D}"/>
              </a:ext>
            </a:extLst>
          </p:cNvPr>
          <p:cNvSpPr/>
          <p:nvPr/>
        </p:nvSpPr>
        <p:spPr>
          <a:xfrm>
            <a:off x="7292096" y="2632933"/>
            <a:ext cx="36180" cy="8980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9" name="Subtitle 2">
            <a:extLst>
              <a:ext uri="{FF2B5EF4-FFF2-40B4-BE49-F238E27FC236}">
                <a16:creationId xmlns:a16="http://schemas.microsoft.com/office/drawing/2014/main" xmlns="" id="{F0D21CDA-7EE6-405B-9223-6DC75CB5BD6F}"/>
              </a:ext>
            </a:extLst>
          </p:cNvPr>
          <p:cNvSpPr txBox="1">
            <a:spLocks/>
          </p:cNvSpPr>
          <p:nvPr/>
        </p:nvSpPr>
        <p:spPr>
          <a:xfrm>
            <a:off x="4238560" y="3018653"/>
            <a:ext cx="1773166" cy="1419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isk Managers must be involved at the onset of strategy setting processes</a:t>
            </a:r>
          </a:p>
        </p:txBody>
      </p:sp>
      <p:sp>
        <p:nvSpPr>
          <p:cNvPr id="50" name="Subtitle 2">
            <a:extLst>
              <a:ext uri="{FF2B5EF4-FFF2-40B4-BE49-F238E27FC236}">
                <a16:creationId xmlns:a16="http://schemas.microsoft.com/office/drawing/2014/main" xmlns="" id="{AA00D942-ADA4-4522-A65D-8781BEE69238}"/>
              </a:ext>
            </a:extLst>
          </p:cNvPr>
          <p:cNvSpPr txBox="1">
            <a:spLocks/>
          </p:cNvSpPr>
          <p:nvPr/>
        </p:nvSpPr>
        <p:spPr>
          <a:xfrm>
            <a:off x="5844023" y="4958416"/>
            <a:ext cx="1924854" cy="169662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isks associated with new products should be considered and communicated to the board</a:t>
            </a:r>
          </a:p>
        </p:txBody>
      </p:sp>
      <p:sp>
        <p:nvSpPr>
          <p:cNvPr id="51" name="Subtitle 2">
            <a:extLst>
              <a:ext uri="{FF2B5EF4-FFF2-40B4-BE49-F238E27FC236}">
                <a16:creationId xmlns:a16="http://schemas.microsoft.com/office/drawing/2014/main" xmlns="" id="{AEB99813-61B3-4272-90E1-003702B2BA48}"/>
              </a:ext>
            </a:extLst>
          </p:cNvPr>
          <p:cNvSpPr txBox="1">
            <a:spLocks/>
          </p:cNvSpPr>
          <p:nvPr/>
        </p:nvSpPr>
        <p:spPr>
          <a:xfrm>
            <a:off x="7414023" y="1841424"/>
            <a:ext cx="2116380"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Analysis of emerging risks and stress tests should influence business decisions</a:t>
            </a:r>
          </a:p>
        </p:txBody>
      </p:sp>
      <p:sp>
        <p:nvSpPr>
          <p:cNvPr id="52" name="Subtitle 2">
            <a:extLst>
              <a:ext uri="{FF2B5EF4-FFF2-40B4-BE49-F238E27FC236}">
                <a16:creationId xmlns:a16="http://schemas.microsoft.com/office/drawing/2014/main" xmlns="" id="{806E5329-E54B-4AEA-9B57-C67E6AF6D7A9}"/>
              </a:ext>
            </a:extLst>
          </p:cNvPr>
          <p:cNvSpPr txBox="1">
            <a:spLocks/>
          </p:cNvSpPr>
          <p:nvPr/>
        </p:nvSpPr>
        <p:spPr>
          <a:xfrm>
            <a:off x="9038908" y="4010541"/>
            <a:ext cx="2072437" cy="188129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Risk information</a:t>
            </a:r>
            <a:br>
              <a:rPr lang="en-GB" sz="2000" dirty="0">
                <a:solidFill>
                  <a:srgbClr val="245473"/>
                </a:solidFill>
                <a:latin typeface="+mj-lt"/>
                <a:ea typeface="Lato Light" panose="020F0502020204030203" pitchFamily="34" charset="0"/>
                <a:cs typeface="Mukta ExtraLight" panose="020B0000000000000000" pitchFamily="34" charset="77"/>
              </a:rPr>
            </a:br>
            <a:r>
              <a:rPr lang="en-GB" sz="2000" dirty="0">
                <a:solidFill>
                  <a:srgbClr val="245473"/>
                </a:solidFill>
                <a:latin typeface="+mj-lt"/>
                <a:ea typeface="Lato Light" panose="020F0502020204030203" pitchFamily="34" charset="0"/>
                <a:cs typeface="Mukta ExtraLight" panose="020B0000000000000000" pitchFamily="34" charset="77"/>
              </a:rPr>
              <a:t>should be shared</a:t>
            </a:r>
            <a:br>
              <a:rPr lang="en-GB" sz="2000" dirty="0">
                <a:solidFill>
                  <a:srgbClr val="245473"/>
                </a:solidFill>
                <a:latin typeface="+mj-lt"/>
                <a:ea typeface="Lato Light" panose="020F0502020204030203" pitchFamily="34" charset="0"/>
                <a:cs typeface="Mukta ExtraLight" panose="020B0000000000000000" pitchFamily="34" charset="77"/>
              </a:rPr>
            </a:br>
            <a:r>
              <a:rPr lang="en-GB" sz="2000" dirty="0">
                <a:solidFill>
                  <a:srgbClr val="245473"/>
                </a:solidFill>
                <a:latin typeface="+mj-lt"/>
                <a:ea typeface="Lato Light" panose="020F0502020204030203" pitchFamily="34" charset="0"/>
                <a:cs typeface="Mukta ExtraLight" panose="020B0000000000000000" pitchFamily="34" charset="77"/>
              </a:rPr>
              <a:t>across the</a:t>
            </a:r>
            <a:r>
              <a:rPr lang="en-GB" sz="1600" dirty="0">
                <a:solidFill>
                  <a:srgbClr val="245473"/>
                </a:solidFill>
                <a:latin typeface="+mj-lt"/>
                <a:ea typeface="Lato Light" panose="020F0502020204030203" pitchFamily="34" charset="0"/>
                <a:cs typeface="Mukta ExtraLight" panose="020B0000000000000000" pitchFamily="34" charset="77"/>
              </a:rPr>
              <a:t> </a:t>
            </a:r>
            <a:r>
              <a:rPr lang="en-GB" sz="2000" dirty="0">
                <a:solidFill>
                  <a:srgbClr val="245473"/>
                </a:solidFill>
                <a:latin typeface="+mj-lt"/>
                <a:ea typeface="Lato Light" panose="020F0502020204030203" pitchFamily="34" charset="0"/>
                <a:cs typeface="Mukta ExtraLight" panose="020B0000000000000000" pitchFamily="34" charset="77"/>
              </a:rPr>
              <a:t>company to avoid the same event recurring</a:t>
            </a:r>
          </a:p>
        </p:txBody>
      </p:sp>
    </p:spTree>
    <p:extLst>
      <p:ext uri="{BB962C8B-B14F-4D97-AF65-F5344CB8AC3E}">
        <p14:creationId xmlns:p14="http://schemas.microsoft.com/office/powerpoint/2010/main" val="15154590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22534" y="573601"/>
            <a:ext cx="8852375" cy="697353"/>
          </a:xfrm>
        </p:spPr>
        <p:txBody>
          <a:bodyPr>
            <a:normAutofit/>
          </a:bodyPr>
          <a:lstStyle/>
          <a:p>
            <a:r>
              <a:rPr lang="en-GB" dirty="0"/>
              <a:t>Risk Management Processe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3075320" cy="32063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Risk management processes are grouped in different ways but generally include the opposite.</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deally, each of these processes should be ongoing rather than, for example, annual.</a:t>
            </a:r>
          </a:p>
        </p:txBody>
      </p:sp>
      <p:sp>
        <p:nvSpPr>
          <p:cNvPr id="25" name="Freeform 53">
            <a:extLst>
              <a:ext uri="{FF2B5EF4-FFF2-40B4-BE49-F238E27FC236}">
                <a16:creationId xmlns:a16="http://schemas.microsoft.com/office/drawing/2014/main" xmlns="" id="{6640D031-5A83-4513-A80B-8F840B09C5D5}"/>
              </a:ext>
            </a:extLst>
          </p:cNvPr>
          <p:cNvSpPr/>
          <p:nvPr/>
        </p:nvSpPr>
        <p:spPr>
          <a:xfrm>
            <a:off x="6755438" y="2278036"/>
            <a:ext cx="1917320" cy="1486415"/>
          </a:xfrm>
          <a:custGeom>
            <a:avLst/>
            <a:gdLst>
              <a:gd name="connsiteX0" fmla="*/ 1068123 w 5111523"/>
              <a:gd name="connsiteY0" fmla="*/ 0 h 3962742"/>
              <a:gd name="connsiteX1" fmla="*/ 4598550 w 5111523"/>
              <a:gd name="connsiteY1" fmla="*/ 1664939 h 3962742"/>
              <a:gd name="connsiteX2" fmla="*/ 4670437 w 5111523"/>
              <a:gd name="connsiteY2" fmla="*/ 1756416 h 3962742"/>
              <a:gd name="connsiteX3" fmla="*/ 5111523 w 5111523"/>
              <a:gd name="connsiteY3" fmla="*/ 1436197 h 3962742"/>
              <a:gd name="connsiteX4" fmla="*/ 4424950 w 5111523"/>
              <a:gd name="connsiteY4" fmla="*/ 3962742 h 3962742"/>
              <a:gd name="connsiteX5" fmla="*/ 1809996 w 5111523"/>
              <a:gd name="connsiteY5" fmla="*/ 3833035 h 3962742"/>
              <a:gd name="connsiteX6" fmla="*/ 2294796 w 5111523"/>
              <a:gd name="connsiteY6" fmla="*/ 3481081 h 3962742"/>
              <a:gd name="connsiteX7" fmla="*/ 2231672 w 5111523"/>
              <a:gd name="connsiteY7" fmla="*/ 3411626 h 3962742"/>
              <a:gd name="connsiteX8" fmla="*/ 1068123 w 5111523"/>
              <a:gd name="connsiteY8" fmla="*/ 2929668 h 3962742"/>
              <a:gd name="connsiteX9" fmla="*/ 899880 w 5111523"/>
              <a:gd name="connsiteY9" fmla="*/ 2938164 h 3962742"/>
              <a:gd name="connsiteX10" fmla="*/ 859090 w 5111523"/>
              <a:gd name="connsiteY10" fmla="*/ 2944389 h 3962742"/>
              <a:gd name="connsiteX11" fmla="*/ 1546598 w 5111523"/>
              <a:gd name="connsiteY11" fmla="*/ 1140048 h 3962742"/>
              <a:gd name="connsiteX12" fmla="*/ 0 w 5111523"/>
              <a:gd name="connsiteY12" fmla="*/ 127160 h 3962742"/>
              <a:gd name="connsiteX13" fmla="*/ 202033 w 5111523"/>
              <a:gd name="connsiteY13" fmla="*/ 81864 h 3962742"/>
              <a:gd name="connsiteX14" fmla="*/ 1068123 w 5111523"/>
              <a:gd name="connsiteY14" fmla="*/ 0 h 396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11523" h="3962742">
                <a:moveTo>
                  <a:pt x="1068123" y="0"/>
                </a:moveTo>
                <a:cubicBezTo>
                  <a:pt x="2489447" y="0"/>
                  <a:pt x="3759396" y="648119"/>
                  <a:pt x="4598550" y="1664939"/>
                </a:cubicBezTo>
                <a:lnTo>
                  <a:pt x="4670437" y="1756416"/>
                </a:lnTo>
                <a:lnTo>
                  <a:pt x="5111523" y="1436197"/>
                </a:lnTo>
                <a:lnTo>
                  <a:pt x="4424950" y="3962742"/>
                </a:lnTo>
                <a:lnTo>
                  <a:pt x="1809996" y="3833035"/>
                </a:lnTo>
                <a:lnTo>
                  <a:pt x="2294796" y="3481081"/>
                </a:lnTo>
                <a:lnTo>
                  <a:pt x="2231672" y="3411626"/>
                </a:lnTo>
                <a:cubicBezTo>
                  <a:pt x="1933894" y="3113848"/>
                  <a:pt x="1522517" y="2929668"/>
                  <a:pt x="1068123" y="2929668"/>
                </a:cubicBezTo>
                <a:cubicBezTo>
                  <a:pt x="1011324" y="2929668"/>
                  <a:pt x="955197" y="2932546"/>
                  <a:pt x="899880" y="2938164"/>
                </a:cubicBezTo>
                <a:lnTo>
                  <a:pt x="859090" y="2944389"/>
                </a:lnTo>
                <a:lnTo>
                  <a:pt x="1546598" y="1140048"/>
                </a:lnTo>
                <a:lnTo>
                  <a:pt x="0" y="127160"/>
                </a:lnTo>
                <a:lnTo>
                  <a:pt x="202033" y="81864"/>
                </a:lnTo>
                <a:cubicBezTo>
                  <a:pt x="482475" y="28130"/>
                  <a:pt x="772014" y="0"/>
                  <a:pt x="106812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27" name="Freeform 52">
            <a:extLst>
              <a:ext uri="{FF2B5EF4-FFF2-40B4-BE49-F238E27FC236}">
                <a16:creationId xmlns:a16="http://schemas.microsoft.com/office/drawing/2014/main" xmlns="" id="{48FDD969-148F-4AA0-9F2F-BAAF161A84FC}"/>
              </a:ext>
            </a:extLst>
          </p:cNvPr>
          <p:cNvSpPr/>
          <p:nvPr/>
        </p:nvSpPr>
        <p:spPr>
          <a:xfrm>
            <a:off x="5446013" y="2167614"/>
            <a:ext cx="1889551" cy="1712944"/>
          </a:xfrm>
          <a:custGeom>
            <a:avLst/>
            <a:gdLst>
              <a:gd name="connsiteX0" fmla="*/ 2847233 w 5037490"/>
              <a:gd name="connsiteY0" fmla="*/ 0 h 4566661"/>
              <a:gd name="connsiteX1" fmla="*/ 5037490 w 5037490"/>
              <a:gd name="connsiteY1" fmla="*/ 1434429 h 4566661"/>
              <a:gd name="connsiteX2" fmla="*/ 4105269 w 5037490"/>
              <a:gd name="connsiteY2" fmla="*/ 3881012 h 4566661"/>
              <a:gd name="connsiteX3" fmla="*/ 3932563 w 5037490"/>
              <a:gd name="connsiteY3" fmla="*/ 3348218 h 4566661"/>
              <a:gd name="connsiteX4" fmla="*/ 3918510 w 5037490"/>
              <a:gd name="connsiteY4" fmla="*/ 3353361 h 4566661"/>
              <a:gd name="connsiteX5" fmla="*/ 2960359 w 5037490"/>
              <a:gd name="connsiteY5" fmla="*/ 4478083 h 4566661"/>
              <a:gd name="connsiteX6" fmla="*/ 2941952 w 5037490"/>
              <a:gd name="connsiteY6" fmla="*/ 4566661 h 4566661"/>
              <a:gd name="connsiteX7" fmla="*/ 1441393 w 5037490"/>
              <a:gd name="connsiteY7" fmla="*/ 3359382 h 4566661"/>
              <a:gd name="connsiteX8" fmla="*/ 0 w 5037490"/>
              <a:gd name="connsiteY8" fmla="*/ 4519059 h 4566661"/>
              <a:gd name="connsiteX9" fmla="*/ 20598 w 5037490"/>
              <a:gd name="connsiteY9" fmla="*/ 4286846 h 4566661"/>
              <a:gd name="connsiteX10" fmla="*/ 2985917 w 5037490"/>
              <a:gd name="connsiteY10" fmla="*/ 572001 h 4566661"/>
              <a:gd name="connsiteX11" fmla="*/ 3028029 w 5037490"/>
              <a:gd name="connsiteY11" fmla="*/ 557752 h 45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7490" h="4566661">
                <a:moveTo>
                  <a:pt x="2847233" y="0"/>
                </a:moveTo>
                <a:lnTo>
                  <a:pt x="5037490" y="1434429"/>
                </a:lnTo>
                <a:lnTo>
                  <a:pt x="4105269" y="3881012"/>
                </a:lnTo>
                <a:lnTo>
                  <a:pt x="3932563" y="3348218"/>
                </a:lnTo>
                <a:lnTo>
                  <a:pt x="3918510" y="3353361"/>
                </a:lnTo>
                <a:cubicBezTo>
                  <a:pt x="3444802" y="3553723"/>
                  <a:pt x="3084445" y="3969604"/>
                  <a:pt x="2960359" y="4478083"/>
                </a:cubicBezTo>
                <a:lnTo>
                  <a:pt x="2941952" y="4566661"/>
                </a:lnTo>
                <a:lnTo>
                  <a:pt x="1441393" y="3359382"/>
                </a:lnTo>
                <a:lnTo>
                  <a:pt x="0" y="4519059"/>
                </a:lnTo>
                <a:lnTo>
                  <a:pt x="20598" y="4286846"/>
                </a:lnTo>
                <a:cubicBezTo>
                  <a:pt x="238902" y="2569490"/>
                  <a:pt x="1409254" y="1149295"/>
                  <a:pt x="2985917" y="572001"/>
                </a:cubicBezTo>
                <a:lnTo>
                  <a:pt x="3028029" y="55775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28" name="Freeform 54">
            <a:extLst>
              <a:ext uri="{FF2B5EF4-FFF2-40B4-BE49-F238E27FC236}">
                <a16:creationId xmlns:a16="http://schemas.microsoft.com/office/drawing/2014/main" xmlns="" id="{D2F92E03-148A-4494-BC26-52C335B7645D}"/>
              </a:ext>
            </a:extLst>
          </p:cNvPr>
          <p:cNvSpPr/>
          <p:nvPr/>
        </p:nvSpPr>
        <p:spPr>
          <a:xfrm>
            <a:off x="7505477" y="3073066"/>
            <a:ext cx="1366749" cy="2057570"/>
          </a:xfrm>
          <a:custGeom>
            <a:avLst/>
            <a:gdLst>
              <a:gd name="connsiteX0" fmla="*/ 2926251 w 3643716"/>
              <a:gd name="connsiteY0" fmla="*/ 0 h 5485425"/>
              <a:gd name="connsiteX1" fmla="*/ 3037558 w 3643716"/>
              <a:gd name="connsiteY1" fmla="*/ 178321 h 5485425"/>
              <a:gd name="connsiteX2" fmla="*/ 3643716 w 3643716"/>
              <a:gd name="connsiteY2" fmla="*/ 2455646 h 5485425"/>
              <a:gd name="connsiteX3" fmla="*/ 2862348 w 3643716"/>
              <a:gd name="connsiteY3" fmla="*/ 5013670 h 5485425"/>
              <a:gd name="connsiteX4" fmla="*/ 2851281 w 3643716"/>
              <a:gd name="connsiteY4" fmla="*/ 5029233 h 5485425"/>
              <a:gd name="connsiteX5" fmla="*/ 3301276 w 3643716"/>
              <a:gd name="connsiteY5" fmla="*/ 5355992 h 5485425"/>
              <a:gd name="connsiteX6" fmla="*/ 686308 w 3643716"/>
              <a:gd name="connsiteY6" fmla="*/ 5485425 h 5485425"/>
              <a:gd name="connsiteX7" fmla="*/ 0 w 3643716"/>
              <a:gd name="connsiteY7" fmla="*/ 2958809 h 5485425"/>
              <a:gd name="connsiteX8" fmla="*/ 476197 w 3643716"/>
              <a:gd name="connsiteY8" fmla="*/ 3304594 h 5485425"/>
              <a:gd name="connsiteX9" fmla="*/ 515444 w 3643716"/>
              <a:gd name="connsiteY9" fmla="*/ 3239992 h 5485425"/>
              <a:gd name="connsiteX10" fmla="*/ 714048 w 3643716"/>
              <a:gd name="connsiteY10" fmla="*/ 2455646 h 5485425"/>
              <a:gd name="connsiteX11" fmla="*/ 599910 w 3643716"/>
              <a:gd name="connsiteY11" fmla="*/ 1852281 h 5485425"/>
              <a:gd name="connsiteX12" fmla="*/ 552317 w 3643716"/>
              <a:gd name="connsiteY12" fmla="*/ 1750306 h 5485425"/>
              <a:gd name="connsiteX13" fmla="*/ 2425369 w 3643716"/>
              <a:gd name="connsiteY13" fmla="*/ 1843213 h 548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43716" h="5485425">
                <a:moveTo>
                  <a:pt x="2926251" y="0"/>
                </a:moveTo>
                <a:lnTo>
                  <a:pt x="3037558" y="178321"/>
                </a:lnTo>
                <a:cubicBezTo>
                  <a:pt x="3423175" y="848945"/>
                  <a:pt x="3643716" y="1626541"/>
                  <a:pt x="3643716" y="2455646"/>
                </a:cubicBezTo>
                <a:cubicBezTo>
                  <a:pt x="3643716" y="3403196"/>
                  <a:pt x="3355663" y="4283467"/>
                  <a:pt x="2862348" y="5013670"/>
                </a:cubicBezTo>
                <a:lnTo>
                  <a:pt x="2851281" y="5029233"/>
                </a:lnTo>
                <a:lnTo>
                  <a:pt x="3301276" y="5355992"/>
                </a:lnTo>
                <a:lnTo>
                  <a:pt x="686308" y="5485425"/>
                </a:lnTo>
                <a:lnTo>
                  <a:pt x="0" y="2958809"/>
                </a:lnTo>
                <a:lnTo>
                  <a:pt x="476197" y="3304594"/>
                </a:lnTo>
                <a:lnTo>
                  <a:pt x="515444" y="3239992"/>
                </a:lnTo>
                <a:cubicBezTo>
                  <a:pt x="642103" y="3006835"/>
                  <a:pt x="714048" y="2739642"/>
                  <a:pt x="714048" y="2455646"/>
                </a:cubicBezTo>
                <a:cubicBezTo>
                  <a:pt x="714048" y="2242649"/>
                  <a:pt x="673579" y="2039104"/>
                  <a:pt x="599910" y="1852281"/>
                </a:cubicBezTo>
                <a:lnTo>
                  <a:pt x="552317" y="1750306"/>
                </a:lnTo>
                <a:lnTo>
                  <a:pt x="2425369" y="184321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29" name="Freeform 56">
            <a:extLst>
              <a:ext uri="{FF2B5EF4-FFF2-40B4-BE49-F238E27FC236}">
                <a16:creationId xmlns:a16="http://schemas.microsoft.com/office/drawing/2014/main" xmlns="" id="{8D3B971F-1C43-45CC-A533-63382C7713B8}"/>
              </a:ext>
            </a:extLst>
          </p:cNvPr>
          <p:cNvSpPr/>
          <p:nvPr/>
        </p:nvSpPr>
        <p:spPr>
          <a:xfrm>
            <a:off x="5221512" y="3427710"/>
            <a:ext cx="1654421" cy="2159336"/>
          </a:xfrm>
          <a:custGeom>
            <a:avLst/>
            <a:gdLst>
              <a:gd name="connsiteX0" fmla="*/ 2039909 w 4410641"/>
              <a:gd name="connsiteY0" fmla="*/ 0 h 5756729"/>
              <a:gd name="connsiteX1" fmla="*/ 4079818 w 4410641"/>
              <a:gd name="connsiteY1" fmla="*/ 1641214 h 5756729"/>
              <a:gd name="connsiteX2" fmla="*/ 3518641 w 4410641"/>
              <a:gd name="connsiteY2" fmla="*/ 1641214 h 5756729"/>
              <a:gd name="connsiteX3" fmla="*/ 3520520 w 4410641"/>
              <a:gd name="connsiteY3" fmla="*/ 1678416 h 5756729"/>
              <a:gd name="connsiteX4" fmla="*/ 4321306 w 4410641"/>
              <a:gd name="connsiteY4" fmla="*/ 2927662 h 5756729"/>
              <a:gd name="connsiteX5" fmla="*/ 4410641 w 4410641"/>
              <a:gd name="connsiteY5" fmla="*/ 2972715 h 5756729"/>
              <a:gd name="connsiteX6" fmla="*/ 2801332 w 4410641"/>
              <a:gd name="connsiteY6" fmla="*/ 4024712 h 5756729"/>
              <a:gd name="connsiteX7" fmla="*/ 3459590 w 4410641"/>
              <a:gd name="connsiteY7" fmla="*/ 5756729 h 5756729"/>
              <a:gd name="connsiteX8" fmla="*/ 3274680 w 4410641"/>
              <a:gd name="connsiteY8" fmla="*/ 5681192 h 5756729"/>
              <a:gd name="connsiteX9" fmla="*/ 588309 w 4410641"/>
              <a:gd name="connsiteY9" fmla="*/ 1745611 h 5756729"/>
              <a:gd name="connsiteX10" fmla="*/ 585670 w 4410641"/>
              <a:gd name="connsiteY10" fmla="*/ 1641214 h 5756729"/>
              <a:gd name="connsiteX11" fmla="*/ 0 w 4410641"/>
              <a:gd name="connsiteY11" fmla="*/ 1641214 h 575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10641" h="5756729">
                <a:moveTo>
                  <a:pt x="2039909" y="0"/>
                </a:moveTo>
                <a:lnTo>
                  <a:pt x="4079818" y="1641214"/>
                </a:lnTo>
                <a:lnTo>
                  <a:pt x="3518641" y="1641214"/>
                </a:lnTo>
                <a:lnTo>
                  <a:pt x="3520520" y="1678416"/>
                </a:lnTo>
                <a:cubicBezTo>
                  <a:pt x="3574591" y="2210844"/>
                  <a:pt x="3882493" y="2668232"/>
                  <a:pt x="4321306" y="2927662"/>
                </a:cubicBezTo>
                <a:lnTo>
                  <a:pt x="4410641" y="2972715"/>
                </a:lnTo>
                <a:lnTo>
                  <a:pt x="2801332" y="4024712"/>
                </a:lnTo>
                <a:lnTo>
                  <a:pt x="3459590" y="5756729"/>
                </a:lnTo>
                <a:lnTo>
                  <a:pt x="3274680" y="5681192"/>
                </a:lnTo>
                <a:cubicBezTo>
                  <a:pt x="1754617" y="4993937"/>
                  <a:pt x="677248" y="3500164"/>
                  <a:pt x="588309" y="1745611"/>
                </a:cubicBezTo>
                <a:lnTo>
                  <a:pt x="58567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30" name="Freeform 55">
            <a:extLst>
              <a:ext uri="{FF2B5EF4-FFF2-40B4-BE49-F238E27FC236}">
                <a16:creationId xmlns:a16="http://schemas.microsoft.com/office/drawing/2014/main" xmlns="" id="{C89C9B63-A9BB-402F-9931-28530A8A54C6}"/>
              </a:ext>
            </a:extLst>
          </p:cNvPr>
          <p:cNvSpPr/>
          <p:nvPr/>
        </p:nvSpPr>
        <p:spPr>
          <a:xfrm>
            <a:off x="6272284" y="4400020"/>
            <a:ext cx="2199563" cy="1455356"/>
          </a:xfrm>
          <a:custGeom>
            <a:avLst/>
            <a:gdLst>
              <a:gd name="connsiteX0" fmla="*/ 2191480 w 5863974"/>
              <a:gd name="connsiteY0" fmla="*/ 0 h 3879938"/>
              <a:gd name="connsiteX1" fmla="*/ 2019567 w 5863974"/>
              <a:gd name="connsiteY1" fmla="*/ 528810 h 3879938"/>
              <a:gd name="connsiteX2" fmla="*/ 2024573 w 5863974"/>
              <a:gd name="connsiteY2" fmla="*/ 530097 h 3879938"/>
              <a:gd name="connsiteX3" fmla="*/ 2356200 w 5863974"/>
              <a:gd name="connsiteY3" fmla="*/ 563528 h 3879938"/>
              <a:gd name="connsiteX4" fmla="*/ 3402895 w 5863974"/>
              <a:gd name="connsiteY4" fmla="*/ 187774 h 3879938"/>
              <a:gd name="connsiteX5" fmla="*/ 3477476 w 5863974"/>
              <a:gd name="connsiteY5" fmla="*/ 119991 h 3879938"/>
              <a:gd name="connsiteX6" fmla="*/ 3973966 w 5863974"/>
              <a:gd name="connsiteY6" fmla="*/ 1947801 h 3879938"/>
              <a:gd name="connsiteX7" fmla="*/ 5863974 w 5863974"/>
              <a:gd name="connsiteY7" fmla="*/ 1854251 h 3879938"/>
              <a:gd name="connsiteX8" fmla="*/ 5724305 w 5863974"/>
              <a:gd name="connsiteY8" fmla="*/ 2014522 h 3879938"/>
              <a:gd name="connsiteX9" fmla="*/ 2356200 w 5863974"/>
              <a:gd name="connsiteY9" fmla="*/ 3493196 h 3879938"/>
              <a:gd name="connsiteX10" fmla="*/ 1212793 w 5863974"/>
              <a:gd name="connsiteY10" fmla="*/ 3349157 h 3879938"/>
              <a:gd name="connsiteX11" fmla="*/ 1111993 w 5863974"/>
              <a:gd name="connsiteY11" fmla="*/ 3320533 h 3879938"/>
              <a:gd name="connsiteX12" fmla="*/ 930133 w 5863974"/>
              <a:gd name="connsiteY12" fmla="*/ 3879938 h 3879938"/>
              <a:gd name="connsiteX13" fmla="*/ 0 w 5863974"/>
              <a:gd name="connsiteY13" fmla="*/ 1432559 h 387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3974" h="3879938">
                <a:moveTo>
                  <a:pt x="2191480" y="0"/>
                </a:moveTo>
                <a:lnTo>
                  <a:pt x="2019567" y="528810"/>
                </a:lnTo>
                <a:lnTo>
                  <a:pt x="2024573" y="530097"/>
                </a:lnTo>
                <a:cubicBezTo>
                  <a:pt x="2131692" y="552017"/>
                  <a:pt x="2242601" y="563528"/>
                  <a:pt x="2356200" y="563528"/>
                </a:cubicBezTo>
                <a:cubicBezTo>
                  <a:pt x="2753795" y="563528"/>
                  <a:pt x="3118455" y="422515"/>
                  <a:pt x="3402895" y="187774"/>
                </a:cubicBezTo>
                <a:lnTo>
                  <a:pt x="3477476" y="119991"/>
                </a:lnTo>
                <a:lnTo>
                  <a:pt x="3973966" y="1947801"/>
                </a:lnTo>
                <a:lnTo>
                  <a:pt x="5863974" y="1854251"/>
                </a:lnTo>
                <a:lnTo>
                  <a:pt x="5724305" y="2014522"/>
                </a:lnTo>
                <a:cubicBezTo>
                  <a:pt x="4888138" y="2923560"/>
                  <a:pt x="3688691" y="3493196"/>
                  <a:pt x="2356200" y="3493196"/>
                </a:cubicBezTo>
                <a:cubicBezTo>
                  <a:pt x="1961388" y="3493196"/>
                  <a:pt x="1578256" y="3443187"/>
                  <a:pt x="1212793" y="3349157"/>
                </a:cubicBezTo>
                <a:lnTo>
                  <a:pt x="1111993" y="3320533"/>
                </a:lnTo>
                <a:lnTo>
                  <a:pt x="930133" y="3879938"/>
                </a:lnTo>
                <a:lnTo>
                  <a:pt x="0" y="1432559"/>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35" name="TextBox 57">
            <a:extLst>
              <a:ext uri="{FF2B5EF4-FFF2-40B4-BE49-F238E27FC236}">
                <a16:creationId xmlns:a16="http://schemas.microsoft.com/office/drawing/2014/main" xmlns="" id="{F18ADF2E-E15B-48F9-A248-42A6129A28CA}"/>
              </a:ext>
            </a:extLst>
          </p:cNvPr>
          <p:cNvSpPr txBox="1"/>
          <p:nvPr/>
        </p:nvSpPr>
        <p:spPr>
          <a:xfrm>
            <a:off x="6111657" y="2845769"/>
            <a:ext cx="732060"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Report</a:t>
            </a:r>
          </a:p>
        </p:txBody>
      </p:sp>
      <p:sp>
        <p:nvSpPr>
          <p:cNvPr id="37" name="TextBox 58">
            <a:extLst>
              <a:ext uri="{FF2B5EF4-FFF2-40B4-BE49-F238E27FC236}">
                <a16:creationId xmlns:a16="http://schemas.microsoft.com/office/drawing/2014/main" xmlns="" id="{2124084B-5029-482A-BC95-FD7B936F7AFC}"/>
              </a:ext>
            </a:extLst>
          </p:cNvPr>
          <p:cNvSpPr txBox="1"/>
          <p:nvPr/>
        </p:nvSpPr>
        <p:spPr>
          <a:xfrm>
            <a:off x="7528999" y="2993447"/>
            <a:ext cx="800860"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Identify</a:t>
            </a:r>
          </a:p>
        </p:txBody>
      </p:sp>
      <p:sp>
        <p:nvSpPr>
          <p:cNvPr id="39" name="TextBox 59">
            <a:extLst>
              <a:ext uri="{FF2B5EF4-FFF2-40B4-BE49-F238E27FC236}">
                <a16:creationId xmlns:a16="http://schemas.microsoft.com/office/drawing/2014/main" xmlns="" id="{8BFFA826-FC26-48FB-92F8-97B8ADFA639C}"/>
              </a:ext>
            </a:extLst>
          </p:cNvPr>
          <p:cNvSpPr txBox="1"/>
          <p:nvPr/>
        </p:nvSpPr>
        <p:spPr>
          <a:xfrm>
            <a:off x="7934148" y="3917363"/>
            <a:ext cx="785792"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Assess/</a:t>
            </a:r>
          </a:p>
        </p:txBody>
      </p:sp>
      <p:sp>
        <p:nvSpPr>
          <p:cNvPr id="41" name="TextBox 60">
            <a:extLst>
              <a:ext uri="{FF2B5EF4-FFF2-40B4-BE49-F238E27FC236}">
                <a16:creationId xmlns:a16="http://schemas.microsoft.com/office/drawing/2014/main" xmlns="" id="{4A7AF846-1E74-484C-B015-CB5F441AA44B}"/>
              </a:ext>
            </a:extLst>
          </p:cNvPr>
          <p:cNvSpPr txBox="1"/>
          <p:nvPr/>
        </p:nvSpPr>
        <p:spPr>
          <a:xfrm>
            <a:off x="6566323" y="4835310"/>
            <a:ext cx="959044" cy="584775"/>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anage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Respond</a:t>
            </a:r>
          </a:p>
        </p:txBody>
      </p:sp>
      <p:sp>
        <p:nvSpPr>
          <p:cNvPr id="53" name="TextBox 61">
            <a:extLst>
              <a:ext uri="{FF2B5EF4-FFF2-40B4-BE49-F238E27FC236}">
                <a16:creationId xmlns:a16="http://schemas.microsoft.com/office/drawing/2014/main" xmlns="" id="{1937416C-5E1B-42F6-A703-3A79172ADD5C}"/>
              </a:ext>
            </a:extLst>
          </p:cNvPr>
          <p:cNvSpPr txBox="1"/>
          <p:nvPr/>
        </p:nvSpPr>
        <p:spPr>
          <a:xfrm>
            <a:off x="5642009" y="4160750"/>
            <a:ext cx="847924"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onitor</a:t>
            </a:r>
          </a:p>
        </p:txBody>
      </p:sp>
      <p:sp>
        <p:nvSpPr>
          <p:cNvPr id="54" name="TextBox 59">
            <a:extLst>
              <a:ext uri="{FF2B5EF4-FFF2-40B4-BE49-F238E27FC236}">
                <a16:creationId xmlns:a16="http://schemas.microsoft.com/office/drawing/2014/main" xmlns="" id="{371A6691-B792-4B9D-84D4-409F84494A9B}"/>
              </a:ext>
            </a:extLst>
          </p:cNvPr>
          <p:cNvSpPr txBox="1"/>
          <p:nvPr/>
        </p:nvSpPr>
        <p:spPr>
          <a:xfrm>
            <a:off x="7793143" y="4265682"/>
            <a:ext cx="896592"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easure</a:t>
            </a:r>
          </a:p>
        </p:txBody>
      </p:sp>
      <p:sp>
        <p:nvSpPr>
          <p:cNvPr id="3" name="Ellipse 2">
            <a:extLst>
              <a:ext uri="{FF2B5EF4-FFF2-40B4-BE49-F238E27FC236}">
                <a16:creationId xmlns:a16="http://schemas.microsoft.com/office/drawing/2014/main" xmlns="" id="{6ECB9D34-E1D7-49FB-9EA6-5BCF0406F10E}"/>
              </a:ext>
            </a:extLst>
          </p:cNvPr>
          <p:cNvSpPr/>
          <p:nvPr/>
        </p:nvSpPr>
        <p:spPr>
          <a:xfrm>
            <a:off x="8376276" y="2571835"/>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a:t>
            </a:r>
          </a:p>
        </p:txBody>
      </p:sp>
      <p:sp>
        <p:nvSpPr>
          <p:cNvPr id="16" name="Ellipse 15">
            <a:extLst>
              <a:ext uri="{FF2B5EF4-FFF2-40B4-BE49-F238E27FC236}">
                <a16:creationId xmlns:a16="http://schemas.microsoft.com/office/drawing/2014/main" xmlns="" id="{01C4EC67-A784-43D3-8430-B57F3F4952B5}"/>
              </a:ext>
            </a:extLst>
          </p:cNvPr>
          <p:cNvSpPr/>
          <p:nvPr/>
        </p:nvSpPr>
        <p:spPr>
          <a:xfrm>
            <a:off x="8660748" y="4757148"/>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17" name="Ellipse 16">
            <a:extLst>
              <a:ext uri="{FF2B5EF4-FFF2-40B4-BE49-F238E27FC236}">
                <a16:creationId xmlns:a16="http://schemas.microsoft.com/office/drawing/2014/main" xmlns="" id="{704791D4-4B7F-4D0A-9AD7-50AFF9101565}"/>
              </a:ext>
            </a:extLst>
          </p:cNvPr>
          <p:cNvSpPr/>
          <p:nvPr/>
        </p:nvSpPr>
        <p:spPr>
          <a:xfrm>
            <a:off x="6682770" y="5703561"/>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3</a:t>
            </a:r>
          </a:p>
        </p:txBody>
      </p:sp>
      <p:sp>
        <p:nvSpPr>
          <p:cNvPr id="18" name="Ellipse 17">
            <a:extLst>
              <a:ext uri="{FF2B5EF4-FFF2-40B4-BE49-F238E27FC236}">
                <a16:creationId xmlns:a16="http://schemas.microsoft.com/office/drawing/2014/main" xmlns="" id="{735AE69D-F9B8-484B-AB58-EF1B66A7F435}"/>
              </a:ext>
            </a:extLst>
          </p:cNvPr>
          <p:cNvSpPr/>
          <p:nvPr/>
        </p:nvSpPr>
        <p:spPr>
          <a:xfrm>
            <a:off x="5129050" y="4086640"/>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4</a:t>
            </a:r>
          </a:p>
        </p:txBody>
      </p:sp>
      <p:sp>
        <p:nvSpPr>
          <p:cNvPr id="19" name="Ellipse 18">
            <a:extLst>
              <a:ext uri="{FF2B5EF4-FFF2-40B4-BE49-F238E27FC236}">
                <a16:creationId xmlns:a16="http://schemas.microsoft.com/office/drawing/2014/main" xmlns="" id="{5EFA11AD-C4BE-424B-9632-BBABAC924469}"/>
              </a:ext>
            </a:extLst>
          </p:cNvPr>
          <p:cNvSpPr/>
          <p:nvPr/>
        </p:nvSpPr>
        <p:spPr>
          <a:xfrm>
            <a:off x="6201392" y="2140024"/>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5</a:t>
            </a:r>
          </a:p>
        </p:txBody>
      </p:sp>
    </p:spTree>
    <p:extLst>
      <p:ext uri="{BB962C8B-B14F-4D97-AF65-F5344CB8AC3E}">
        <p14:creationId xmlns:p14="http://schemas.microsoft.com/office/powerpoint/2010/main" val="1073839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2068" y="720547"/>
            <a:ext cx="8852375" cy="697353"/>
          </a:xfrm>
        </p:spPr>
        <p:txBody>
          <a:bodyPr>
            <a:normAutofit fontScale="92500"/>
          </a:bodyPr>
          <a:lstStyle/>
          <a:p>
            <a:r>
              <a:rPr lang="en-GB" sz="2800" dirty="0"/>
              <a:t>What is needed: The Principles of Enterprise Risk Manageme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86126" y="1928735"/>
            <a:ext cx="3986097" cy="462208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nterprise Risk Management is the integrated management of:</a:t>
            </a:r>
          </a:p>
          <a:p>
            <a:pPr marL="177800" indent="-177800" algn="l">
              <a:lnSpc>
                <a:spcPct val="100000"/>
              </a:lnSpc>
              <a:spcBef>
                <a:spcPts val="300"/>
              </a:spcBef>
              <a:buFont typeface="Symbol" panose="05050102010706020507" pitchFamily="18" charset="2"/>
              <a:buChar char="-"/>
            </a:pPr>
            <a:r>
              <a:rPr lang="en-GB" sz="1800" dirty="0">
                <a:solidFill>
                  <a:srgbClr val="245473"/>
                </a:solidFill>
                <a:latin typeface="+mj-lt"/>
                <a:ea typeface="Open Sans Light" panose="020B0306030504020204" pitchFamily="34" charset="0"/>
                <a:cs typeface="Open Sans Light" panose="020B0306030504020204" pitchFamily="34" charset="0"/>
              </a:rPr>
              <a:t>business risk, </a:t>
            </a:r>
          </a:p>
          <a:p>
            <a:pPr marL="177800" indent="-177800" algn="l">
              <a:lnSpc>
                <a:spcPct val="100000"/>
              </a:lnSpc>
              <a:spcBef>
                <a:spcPts val="300"/>
              </a:spcBef>
              <a:buFont typeface="Symbol" panose="05050102010706020507" pitchFamily="18" charset="2"/>
              <a:buChar char="-"/>
            </a:pPr>
            <a:r>
              <a:rPr lang="en-GB" sz="1800" dirty="0">
                <a:solidFill>
                  <a:srgbClr val="245473"/>
                </a:solidFill>
                <a:latin typeface="+mj-lt"/>
                <a:ea typeface="Open Sans Light" panose="020B0306030504020204" pitchFamily="34" charset="0"/>
                <a:cs typeface="Open Sans Light" panose="020B0306030504020204" pitchFamily="34" charset="0"/>
              </a:rPr>
              <a:t>financial risk, </a:t>
            </a:r>
          </a:p>
          <a:p>
            <a:pPr marL="177800" indent="-177800" algn="l">
              <a:lnSpc>
                <a:spcPct val="100000"/>
              </a:lnSpc>
              <a:spcBef>
                <a:spcPts val="300"/>
              </a:spcBef>
              <a:buFont typeface="Symbol" panose="05050102010706020507" pitchFamily="18" charset="2"/>
              <a:buChar char="-"/>
            </a:pPr>
            <a:r>
              <a:rPr lang="en-GB" sz="1800" dirty="0">
                <a:solidFill>
                  <a:srgbClr val="245473"/>
                </a:solidFill>
                <a:latin typeface="+mj-lt"/>
                <a:ea typeface="Open Sans Light" panose="020B0306030504020204" pitchFamily="34" charset="0"/>
                <a:cs typeface="Open Sans Light" panose="020B0306030504020204" pitchFamily="34" charset="0"/>
              </a:rPr>
              <a:t>operational risk and </a:t>
            </a:r>
          </a:p>
          <a:p>
            <a:pPr marL="177800" indent="-177800" algn="l">
              <a:lnSpc>
                <a:spcPct val="100000"/>
              </a:lnSpc>
              <a:spcBef>
                <a:spcPts val="300"/>
              </a:spcBef>
              <a:buFont typeface="Symbol" panose="05050102010706020507" pitchFamily="18" charset="2"/>
              <a:buChar char="-"/>
            </a:pPr>
            <a:r>
              <a:rPr lang="en-GB" sz="1800" dirty="0">
                <a:solidFill>
                  <a:srgbClr val="245473"/>
                </a:solidFill>
                <a:latin typeface="+mj-lt"/>
                <a:ea typeface="Open Sans Light" panose="020B0306030504020204" pitchFamily="34" charset="0"/>
                <a:cs typeface="Open Sans Light" panose="020B0306030504020204" pitchFamily="34" charset="0"/>
              </a:rPr>
              <a:t>risk transfer</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to maximize a firm's shareholder value".</a:t>
            </a:r>
            <a:br>
              <a:rPr lang="en-GB" sz="1800" dirty="0">
                <a:solidFill>
                  <a:srgbClr val="245473"/>
                </a:solidFill>
                <a:latin typeface="+mj-lt"/>
                <a:ea typeface="Open Sans Light" panose="020B0306030504020204" pitchFamily="34" charset="0"/>
                <a:cs typeface="Open Sans Light" panose="020B0306030504020204" pitchFamily="34" charset="0"/>
              </a:rPr>
            </a:br>
            <a:endParaRPr lang="en-GB" sz="18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That is, making a company more profitable by creating a single view of all risks, internal and external, and an executive-level management strategy to deal with those risks. </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To achieve this, you need to follow five basic principles</a:t>
            </a:r>
          </a:p>
        </p:txBody>
      </p:sp>
      <p:sp>
        <p:nvSpPr>
          <p:cNvPr id="122" name="Freeform 1">
            <a:extLst>
              <a:ext uri="{FF2B5EF4-FFF2-40B4-BE49-F238E27FC236}">
                <a16:creationId xmlns:a16="http://schemas.microsoft.com/office/drawing/2014/main" xmlns="" id="{278BA44B-8894-49A5-8867-EA3916E702C7}"/>
              </a:ext>
            </a:extLst>
          </p:cNvPr>
          <p:cNvSpPr>
            <a:spLocks noChangeArrowheads="1"/>
          </p:cNvSpPr>
          <p:nvPr/>
        </p:nvSpPr>
        <p:spPr bwMode="auto">
          <a:xfrm>
            <a:off x="9304406" y="2425490"/>
            <a:ext cx="1098448" cy="2556388"/>
          </a:xfrm>
          <a:custGeom>
            <a:avLst/>
            <a:gdLst>
              <a:gd name="T0" fmla="*/ 1687 w 1942"/>
              <a:gd name="T1" fmla="*/ 3975 h 4516"/>
              <a:gd name="T2" fmla="*/ 1815 w 1942"/>
              <a:gd name="T3" fmla="*/ 3804 h 4516"/>
              <a:gd name="T4" fmla="*/ 1638 w 1942"/>
              <a:gd name="T5" fmla="*/ 3626 h 4516"/>
              <a:gd name="T6" fmla="*/ 1511 w 1942"/>
              <a:gd name="T7" fmla="*/ 3276 h 4516"/>
              <a:gd name="T8" fmla="*/ 1367 w 1942"/>
              <a:gd name="T9" fmla="*/ 1735 h 4516"/>
              <a:gd name="T10" fmla="*/ 1403 w 1942"/>
              <a:gd name="T11" fmla="*/ 1505 h 4516"/>
              <a:gd name="T12" fmla="*/ 1296 w 1942"/>
              <a:gd name="T13" fmla="*/ 1380 h 4516"/>
              <a:gd name="T14" fmla="*/ 1511 w 1942"/>
              <a:gd name="T15" fmla="*/ 844 h 4516"/>
              <a:gd name="T16" fmla="*/ 1508 w 1942"/>
              <a:gd name="T17" fmla="*/ 842 h 4516"/>
              <a:gd name="T18" fmla="*/ 1508 w 1942"/>
              <a:gd name="T19" fmla="*/ 645 h 4516"/>
              <a:gd name="T20" fmla="*/ 1150 w 1942"/>
              <a:gd name="T21" fmla="*/ 577 h 4516"/>
              <a:gd name="T22" fmla="*/ 1151 w 1942"/>
              <a:gd name="T23" fmla="*/ 570 h 4516"/>
              <a:gd name="T24" fmla="*/ 1078 w 1942"/>
              <a:gd name="T25" fmla="*/ 521 h 4516"/>
              <a:gd name="T26" fmla="*/ 1187 w 1942"/>
              <a:gd name="T27" fmla="*/ 337 h 4516"/>
              <a:gd name="T28" fmla="*/ 1262 w 1942"/>
              <a:gd name="T29" fmla="*/ 261 h 4516"/>
              <a:gd name="T30" fmla="*/ 1187 w 1942"/>
              <a:gd name="T31" fmla="*/ 185 h 4516"/>
              <a:gd name="T32" fmla="*/ 1078 w 1942"/>
              <a:gd name="T33" fmla="*/ 76 h 4516"/>
              <a:gd name="T34" fmla="*/ 1002 w 1942"/>
              <a:gd name="T35" fmla="*/ 0 h 4516"/>
              <a:gd name="T36" fmla="*/ 926 w 1942"/>
              <a:gd name="T37" fmla="*/ 76 h 4516"/>
              <a:gd name="T38" fmla="*/ 817 w 1942"/>
              <a:gd name="T39" fmla="*/ 185 h 4516"/>
              <a:gd name="T40" fmla="*/ 741 w 1942"/>
              <a:gd name="T41" fmla="*/ 261 h 4516"/>
              <a:gd name="T42" fmla="*/ 817 w 1942"/>
              <a:gd name="T43" fmla="*/ 337 h 4516"/>
              <a:gd name="T44" fmla="*/ 926 w 1942"/>
              <a:gd name="T45" fmla="*/ 521 h 4516"/>
              <a:gd name="T46" fmla="*/ 902 w 1942"/>
              <a:gd name="T47" fmla="*/ 521 h 4516"/>
              <a:gd name="T48" fmla="*/ 853 w 1942"/>
              <a:gd name="T49" fmla="*/ 570 h 4516"/>
              <a:gd name="T50" fmla="*/ 853 w 1942"/>
              <a:gd name="T51" fmla="*/ 576 h 4516"/>
              <a:gd name="T52" fmla="*/ 496 w 1942"/>
              <a:gd name="T53" fmla="*/ 844 h 4516"/>
              <a:gd name="T54" fmla="*/ 710 w 1942"/>
              <a:gd name="T55" fmla="*/ 1380 h 4516"/>
              <a:gd name="T56" fmla="*/ 603 w 1942"/>
              <a:gd name="T57" fmla="*/ 1505 h 4516"/>
              <a:gd name="T58" fmla="*/ 639 w 1942"/>
              <a:gd name="T59" fmla="*/ 1735 h 4516"/>
              <a:gd name="T60" fmla="*/ 496 w 1942"/>
              <a:gd name="T61" fmla="*/ 3276 h 4516"/>
              <a:gd name="T62" fmla="*/ 337 w 1942"/>
              <a:gd name="T63" fmla="*/ 3626 h 4516"/>
              <a:gd name="T64" fmla="*/ 159 w 1942"/>
              <a:gd name="T65" fmla="*/ 3804 h 4516"/>
              <a:gd name="T66" fmla="*/ 274 w 1942"/>
              <a:gd name="T67" fmla="*/ 3970 h 4516"/>
              <a:gd name="T68" fmla="*/ 257 w 1942"/>
              <a:gd name="T69" fmla="*/ 4000 h 4516"/>
              <a:gd name="T70" fmla="*/ 0 w 1942"/>
              <a:gd name="T71" fmla="*/ 4258 h 4516"/>
              <a:gd name="T72" fmla="*/ 257 w 1942"/>
              <a:gd name="T73" fmla="*/ 4515 h 4516"/>
              <a:gd name="T74" fmla="*/ 1683 w 1942"/>
              <a:gd name="T75" fmla="*/ 4515 h 4516"/>
              <a:gd name="T76" fmla="*/ 1941 w 1942"/>
              <a:gd name="T77" fmla="*/ 4258 h 4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42" h="4516">
                <a:moveTo>
                  <a:pt x="1687" y="4001"/>
                </a:moveTo>
                <a:lnTo>
                  <a:pt x="1687" y="3975"/>
                </a:lnTo>
                <a:lnTo>
                  <a:pt x="1687" y="3975"/>
                </a:lnTo>
                <a:cubicBezTo>
                  <a:pt x="1761" y="3953"/>
                  <a:pt x="1815" y="3885"/>
                  <a:pt x="1815" y="3804"/>
                </a:cubicBezTo>
                <a:lnTo>
                  <a:pt x="1815" y="3804"/>
                </a:lnTo>
                <a:cubicBezTo>
                  <a:pt x="1815" y="3707"/>
                  <a:pt x="1735" y="3626"/>
                  <a:pt x="1638" y="3626"/>
                </a:cubicBezTo>
                <a:lnTo>
                  <a:pt x="1588" y="3626"/>
                </a:lnTo>
                <a:lnTo>
                  <a:pt x="1511" y="3276"/>
                </a:lnTo>
                <a:lnTo>
                  <a:pt x="1511" y="3276"/>
                </a:lnTo>
                <a:cubicBezTo>
                  <a:pt x="1511" y="3276"/>
                  <a:pt x="1147" y="2481"/>
                  <a:pt x="1367" y="1735"/>
                </a:cubicBezTo>
                <a:lnTo>
                  <a:pt x="1367" y="1735"/>
                </a:lnTo>
                <a:cubicBezTo>
                  <a:pt x="1367" y="1735"/>
                  <a:pt x="1627" y="1649"/>
                  <a:pt x="1403" y="1505"/>
                </a:cubicBezTo>
                <a:lnTo>
                  <a:pt x="1403" y="1505"/>
                </a:lnTo>
                <a:cubicBezTo>
                  <a:pt x="1403" y="1505"/>
                  <a:pt x="1479" y="1371"/>
                  <a:pt x="1296" y="1380"/>
                </a:cubicBezTo>
                <a:lnTo>
                  <a:pt x="1296" y="1380"/>
                </a:lnTo>
                <a:cubicBezTo>
                  <a:pt x="1296" y="1380"/>
                  <a:pt x="1235" y="1122"/>
                  <a:pt x="1511" y="844"/>
                </a:cubicBezTo>
                <a:lnTo>
                  <a:pt x="1511" y="844"/>
                </a:lnTo>
                <a:cubicBezTo>
                  <a:pt x="1511" y="844"/>
                  <a:pt x="1510" y="843"/>
                  <a:pt x="1508" y="842"/>
                </a:cubicBezTo>
                <a:lnTo>
                  <a:pt x="1508" y="645"/>
                </a:lnTo>
                <a:lnTo>
                  <a:pt x="1508" y="645"/>
                </a:lnTo>
                <a:cubicBezTo>
                  <a:pt x="1382" y="607"/>
                  <a:pt x="1262" y="586"/>
                  <a:pt x="1150" y="577"/>
                </a:cubicBezTo>
                <a:lnTo>
                  <a:pt x="1150" y="577"/>
                </a:lnTo>
                <a:cubicBezTo>
                  <a:pt x="1150" y="575"/>
                  <a:pt x="1151" y="573"/>
                  <a:pt x="1151" y="570"/>
                </a:cubicBezTo>
                <a:lnTo>
                  <a:pt x="1151" y="570"/>
                </a:lnTo>
                <a:cubicBezTo>
                  <a:pt x="1151" y="543"/>
                  <a:pt x="1128" y="521"/>
                  <a:pt x="1101" y="521"/>
                </a:cubicBezTo>
                <a:lnTo>
                  <a:pt x="1078" y="521"/>
                </a:lnTo>
                <a:lnTo>
                  <a:pt x="1078" y="337"/>
                </a:lnTo>
                <a:lnTo>
                  <a:pt x="1187" y="337"/>
                </a:lnTo>
                <a:lnTo>
                  <a:pt x="1187" y="337"/>
                </a:lnTo>
                <a:cubicBezTo>
                  <a:pt x="1228" y="337"/>
                  <a:pt x="1262" y="303"/>
                  <a:pt x="1262" y="261"/>
                </a:cubicBezTo>
                <a:lnTo>
                  <a:pt x="1262" y="261"/>
                </a:lnTo>
                <a:cubicBezTo>
                  <a:pt x="1262" y="219"/>
                  <a:pt x="1228" y="185"/>
                  <a:pt x="1187" y="185"/>
                </a:cubicBezTo>
                <a:lnTo>
                  <a:pt x="1078" y="185"/>
                </a:lnTo>
                <a:lnTo>
                  <a:pt x="1078" y="76"/>
                </a:lnTo>
                <a:lnTo>
                  <a:pt x="1078" y="76"/>
                </a:lnTo>
                <a:cubicBezTo>
                  <a:pt x="1078" y="35"/>
                  <a:pt x="1043" y="0"/>
                  <a:pt x="1002" y="0"/>
                </a:cubicBezTo>
                <a:lnTo>
                  <a:pt x="1002" y="0"/>
                </a:lnTo>
                <a:cubicBezTo>
                  <a:pt x="960" y="0"/>
                  <a:pt x="926" y="35"/>
                  <a:pt x="926" y="76"/>
                </a:cubicBezTo>
                <a:lnTo>
                  <a:pt x="926" y="185"/>
                </a:lnTo>
                <a:lnTo>
                  <a:pt x="817" y="185"/>
                </a:lnTo>
                <a:lnTo>
                  <a:pt x="817" y="185"/>
                </a:lnTo>
                <a:cubicBezTo>
                  <a:pt x="775" y="185"/>
                  <a:pt x="741" y="219"/>
                  <a:pt x="741" y="261"/>
                </a:cubicBezTo>
                <a:lnTo>
                  <a:pt x="741" y="261"/>
                </a:lnTo>
                <a:cubicBezTo>
                  <a:pt x="741" y="303"/>
                  <a:pt x="775" y="337"/>
                  <a:pt x="817" y="337"/>
                </a:cubicBezTo>
                <a:lnTo>
                  <a:pt x="926" y="337"/>
                </a:lnTo>
                <a:lnTo>
                  <a:pt x="926" y="521"/>
                </a:lnTo>
                <a:lnTo>
                  <a:pt x="902" y="521"/>
                </a:lnTo>
                <a:lnTo>
                  <a:pt x="902" y="521"/>
                </a:lnTo>
                <a:cubicBezTo>
                  <a:pt x="875" y="521"/>
                  <a:pt x="853" y="543"/>
                  <a:pt x="853" y="570"/>
                </a:cubicBezTo>
                <a:lnTo>
                  <a:pt x="853" y="570"/>
                </a:lnTo>
                <a:cubicBezTo>
                  <a:pt x="853" y="573"/>
                  <a:pt x="853" y="574"/>
                  <a:pt x="853" y="576"/>
                </a:cubicBezTo>
                <a:lnTo>
                  <a:pt x="853" y="576"/>
                </a:lnTo>
                <a:cubicBezTo>
                  <a:pt x="635" y="594"/>
                  <a:pt x="496" y="645"/>
                  <a:pt x="496" y="645"/>
                </a:cubicBezTo>
                <a:lnTo>
                  <a:pt x="496" y="844"/>
                </a:lnTo>
                <a:lnTo>
                  <a:pt x="496" y="844"/>
                </a:lnTo>
                <a:cubicBezTo>
                  <a:pt x="772" y="1122"/>
                  <a:pt x="710" y="1380"/>
                  <a:pt x="710" y="1380"/>
                </a:cubicBezTo>
                <a:lnTo>
                  <a:pt x="710" y="1380"/>
                </a:lnTo>
                <a:cubicBezTo>
                  <a:pt x="528" y="1371"/>
                  <a:pt x="603" y="1505"/>
                  <a:pt x="603" y="1505"/>
                </a:cubicBezTo>
                <a:lnTo>
                  <a:pt x="603" y="1505"/>
                </a:lnTo>
                <a:cubicBezTo>
                  <a:pt x="379" y="1649"/>
                  <a:pt x="639" y="1735"/>
                  <a:pt x="639" y="1735"/>
                </a:cubicBezTo>
                <a:lnTo>
                  <a:pt x="639" y="1735"/>
                </a:lnTo>
                <a:cubicBezTo>
                  <a:pt x="860" y="2481"/>
                  <a:pt x="496" y="3276"/>
                  <a:pt x="496" y="3276"/>
                </a:cubicBezTo>
                <a:lnTo>
                  <a:pt x="418" y="3626"/>
                </a:lnTo>
                <a:lnTo>
                  <a:pt x="337" y="3626"/>
                </a:lnTo>
                <a:lnTo>
                  <a:pt x="337" y="3626"/>
                </a:lnTo>
                <a:cubicBezTo>
                  <a:pt x="239" y="3626"/>
                  <a:pt x="159" y="3707"/>
                  <a:pt x="159" y="3804"/>
                </a:cubicBezTo>
                <a:lnTo>
                  <a:pt x="159" y="3804"/>
                </a:lnTo>
                <a:cubicBezTo>
                  <a:pt x="159" y="3880"/>
                  <a:pt x="207" y="3945"/>
                  <a:pt x="274" y="3970"/>
                </a:cubicBezTo>
                <a:lnTo>
                  <a:pt x="274" y="4000"/>
                </a:lnTo>
                <a:lnTo>
                  <a:pt x="257" y="4000"/>
                </a:lnTo>
                <a:lnTo>
                  <a:pt x="257" y="4000"/>
                </a:lnTo>
                <a:cubicBezTo>
                  <a:pt x="115" y="4000"/>
                  <a:pt x="0" y="4116"/>
                  <a:pt x="0" y="4258"/>
                </a:cubicBezTo>
                <a:lnTo>
                  <a:pt x="0" y="4258"/>
                </a:lnTo>
                <a:cubicBezTo>
                  <a:pt x="0" y="4399"/>
                  <a:pt x="115" y="4515"/>
                  <a:pt x="257" y="4515"/>
                </a:cubicBezTo>
                <a:lnTo>
                  <a:pt x="1683" y="4515"/>
                </a:lnTo>
                <a:lnTo>
                  <a:pt x="1683" y="4515"/>
                </a:lnTo>
                <a:cubicBezTo>
                  <a:pt x="1825" y="4515"/>
                  <a:pt x="1941" y="4399"/>
                  <a:pt x="1941" y="4258"/>
                </a:cubicBezTo>
                <a:lnTo>
                  <a:pt x="1941" y="4258"/>
                </a:lnTo>
                <a:cubicBezTo>
                  <a:pt x="1941" y="4117"/>
                  <a:pt x="1827" y="4003"/>
                  <a:pt x="1687" y="400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4" name="Freeform 2">
            <a:extLst>
              <a:ext uri="{FF2B5EF4-FFF2-40B4-BE49-F238E27FC236}">
                <a16:creationId xmlns:a16="http://schemas.microsoft.com/office/drawing/2014/main" xmlns="" id="{6CA13DDB-8DA9-4A1B-975F-0FFDCE141A17}"/>
              </a:ext>
            </a:extLst>
          </p:cNvPr>
          <p:cNvSpPr>
            <a:spLocks noChangeArrowheads="1"/>
          </p:cNvSpPr>
          <p:nvPr/>
        </p:nvSpPr>
        <p:spPr bwMode="auto">
          <a:xfrm>
            <a:off x="10819771" y="2600245"/>
            <a:ext cx="1073483" cy="2381635"/>
          </a:xfrm>
          <a:custGeom>
            <a:avLst/>
            <a:gdLst>
              <a:gd name="T0" fmla="*/ 1632 w 1897"/>
              <a:gd name="T1" fmla="*/ 3667 h 4208"/>
              <a:gd name="T2" fmla="*/ 1759 w 1897"/>
              <a:gd name="T3" fmla="*/ 3479 h 4208"/>
              <a:gd name="T4" fmla="*/ 1575 w 1897"/>
              <a:gd name="T5" fmla="*/ 3318 h 4208"/>
              <a:gd name="T6" fmla="*/ 1524 w 1897"/>
              <a:gd name="T7" fmla="*/ 3278 h 4208"/>
              <a:gd name="T8" fmla="*/ 1488 w 1897"/>
              <a:gd name="T9" fmla="*/ 3116 h 4208"/>
              <a:gd name="T10" fmla="*/ 1416 w 1897"/>
              <a:gd name="T11" fmla="*/ 2870 h 4208"/>
              <a:gd name="T12" fmla="*/ 1294 w 1897"/>
              <a:gd name="T13" fmla="*/ 1494 h 4208"/>
              <a:gd name="T14" fmla="*/ 1362 w 1897"/>
              <a:gd name="T15" fmla="*/ 1405 h 4208"/>
              <a:gd name="T16" fmla="*/ 1411 w 1897"/>
              <a:gd name="T17" fmla="*/ 1247 h 4208"/>
              <a:gd name="T18" fmla="*/ 1364 w 1897"/>
              <a:gd name="T19" fmla="*/ 1134 h 4208"/>
              <a:gd name="T20" fmla="*/ 1327 w 1897"/>
              <a:gd name="T21" fmla="*/ 1083 h 4208"/>
              <a:gd name="T22" fmla="*/ 1243 w 1897"/>
              <a:gd name="T23" fmla="*/ 917 h 4208"/>
              <a:gd name="T24" fmla="*/ 1456 w 1897"/>
              <a:gd name="T25" fmla="*/ 536 h 4208"/>
              <a:gd name="T26" fmla="*/ 1452 w 1897"/>
              <a:gd name="T27" fmla="*/ 373 h 4208"/>
              <a:gd name="T28" fmla="*/ 1453 w 1897"/>
              <a:gd name="T29" fmla="*/ 137 h 4208"/>
              <a:gd name="T30" fmla="*/ 1234 w 1897"/>
              <a:gd name="T31" fmla="*/ 286 h 4208"/>
              <a:gd name="T32" fmla="*/ 1212 w 1897"/>
              <a:gd name="T33" fmla="*/ 295 h 4208"/>
              <a:gd name="T34" fmla="*/ 1223 w 1897"/>
              <a:gd name="T35" fmla="*/ 134 h 4208"/>
              <a:gd name="T36" fmla="*/ 1018 w 1897"/>
              <a:gd name="T37" fmla="*/ 134 h 4208"/>
              <a:gd name="T38" fmla="*/ 1033 w 1897"/>
              <a:gd name="T39" fmla="*/ 85 h 4208"/>
              <a:gd name="T40" fmla="*/ 948 w 1897"/>
              <a:gd name="T41" fmla="*/ 0 h 4208"/>
              <a:gd name="T42" fmla="*/ 863 w 1897"/>
              <a:gd name="T43" fmla="*/ 85 h 4208"/>
              <a:gd name="T44" fmla="*/ 673 w 1897"/>
              <a:gd name="T45" fmla="*/ 134 h 4208"/>
              <a:gd name="T46" fmla="*/ 685 w 1897"/>
              <a:gd name="T47" fmla="*/ 295 h 4208"/>
              <a:gd name="T48" fmla="*/ 663 w 1897"/>
              <a:gd name="T49" fmla="*/ 286 h 4208"/>
              <a:gd name="T50" fmla="*/ 444 w 1897"/>
              <a:gd name="T51" fmla="*/ 137 h 4208"/>
              <a:gd name="T52" fmla="*/ 444 w 1897"/>
              <a:gd name="T53" fmla="*/ 373 h 4208"/>
              <a:gd name="T54" fmla="*/ 444 w 1897"/>
              <a:gd name="T55" fmla="*/ 534 h 4208"/>
              <a:gd name="T56" fmla="*/ 441 w 1897"/>
              <a:gd name="T57" fmla="*/ 536 h 4208"/>
              <a:gd name="T58" fmla="*/ 653 w 1897"/>
              <a:gd name="T59" fmla="*/ 917 h 4208"/>
              <a:gd name="T60" fmla="*/ 570 w 1897"/>
              <a:gd name="T61" fmla="*/ 1083 h 4208"/>
              <a:gd name="T62" fmla="*/ 533 w 1897"/>
              <a:gd name="T63" fmla="*/ 1134 h 4208"/>
              <a:gd name="T64" fmla="*/ 486 w 1897"/>
              <a:gd name="T65" fmla="*/ 1247 h 4208"/>
              <a:gd name="T66" fmla="*/ 534 w 1897"/>
              <a:gd name="T67" fmla="*/ 1405 h 4208"/>
              <a:gd name="T68" fmla="*/ 603 w 1897"/>
              <a:gd name="T69" fmla="*/ 1494 h 4208"/>
              <a:gd name="T70" fmla="*/ 481 w 1897"/>
              <a:gd name="T71" fmla="*/ 2870 h 4208"/>
              <a:gd name="T72" fmla="*/ 372 w 1897"/>
              <a:gd name="T73" fmla="*/ 3278 h 4208"/>
              <a:gd name="T74" fmla="*/ 322 w 1897"/>
              <a:gd name="T75" fmla="*/ 3318 h 4208"/>
              <a:gd name="T76" fmla="*/ 137 w 1897"/>
              <a:gd name="T77" fmla="*/ 3479 h 4208"/>
              <a:gd name="T78" fmla="*/ 265 w 1897"/>
              <a:gd name="T79" fmla="*/ 3667 h 4208"/>
              <a:gd name="T80" fmla="*/ 265 w 1897"/>
              <a:gd name="T81" fmla="*/ 3693 h 4208"/>
              <a:gd name="T82" fmla="*/ 12 w 1897"/>
              <a:gd name="T83" fmla="*/ 3969 h 4208"/>
              <a:gd name="T84" fmla="*/ 948 w 1897"/>
              <a:gd name="T85" fmla="*/ 4207 h 4208"/>
              <a:gd name="T86" fmla="*/ 1619 w 1897"/>
              <a:gd name="T87" fmla="*/ 4207 h 4208"/>
              <a:gd name="T88" fmla="*/ 1885 w 1897"/>
              <a:gd name="T89" fmla="*/ 3969 h 4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97" h="4208">
                <a:moveTo>
                  <a:pt x="1632" y="3693"/>
                </a:moveTo>
                <a:lnTo>
                  <a:pt x="1632" y="3667"/>
                </a:lnTo>
                <a:lnTo>
                  <a:pt x="1632" y="3667"/>
                </a:lnTo>
                <a:cubicBezTo>
                  <a:pt x="1711" y="3643"/>
                  <a:pt x="1768" y="3567"/>
                  <a:pt x="1759" y="3479"/>
                </a:cubicBezTo>
                <a:lnTo>
                  <a:pt x="1759" y="3479"/>
                </a:lnTo>
                <a:cubicBezTo>
                  <a:pt x="1751" y="3386"/>
                  <a:pt x="1668" y="3318"/>
                  <a:pt x="1575" y="3318"/>
                </a:cubicBezTo>
                <a:lnTo>
                  <a:pt x="1575" y="3318"/>
                </a:lnTo>
                <a:cubicBezTo>
                  <a:pt x="1550" y="3318"/>
                  <a:pt x="1529" y="3301"/>
                  <a:pt x="1524" y="3278"/>
                </a:cubicBezTo>
                <a:lnTo>
                  <a:pt x="1488" y="3116"/>
                </a:lnTo>
                <a:lnTo>
                  <a:pt x="1488" y="3116"/>
                </a:lnTo>
                <a:cubicBezTo>
                  <a:pt x="1470" y="3032"/>
                  <a:pt x="1446" y="2950"/>
                  <a:pt x="1416" y="2870"/>
                </a:cubicBezTo>
                <a:lnTo>
                  <a:pt x="1416" y="2870"/>
                </a:lnTo>
                <a:cubicBezTo>
                  <a:pt x="1331" y="2644"/>
                  <a:pt x="1152" y="2062"/>
                  <a:pt x="1294" y="1494"/>
                </a:cubicBezTo>
                <a:lnTo>
                  <a:pt x="1294" y="1494"/>
                </a:lnTo>
                <a:cubicBezTo>
                  <a:pt x="1303" y="1456"/>
                  <a:pt x="1328" y="1423"/>
                  <a:pt x="1362" y="1405"/>
                </a:cubicBezTo>
                <a:lnTo>
                  <a:pt x="1362" y="1405"/>
                </a:lnTo>
                <a:cubicBezTo>
                  <a:pt x="1414" y="1376"/>
                  <a:pt x="1478" y="1322"/>
                  <a:pt x="1411" y="1247"/>
                </a:cubicBezTo>
                <a:lnTo>
                  <a:pt x="1411" y="1247"/>
                </a:lnTo>
                <a:cubicBezTo>
                  <a:pt x="1383" y="1216"/>
                  <a:pt x="1367" y="1176"/>
                  <a:pt x="1364" y="1134"/>
                </a:cubicBezTo>
                <a:lnTo>
                  <a:pt x="1364" y="1134"/>
                </a:lnTo>
                <a:cubicBezTo>
                  <a:pt x="1362" y="1115"/>
                  <a:pt x="1353" y="1095"/>
                  <a:pt x="1327" y="1083"/>
                </a:cubicBezTo>
                <a:lnTo>
                  <a:pt x="1327" y="1083"/>
                </a:lnTo>
                <a:cubicBezTo>
                  <a:pt x="1264" y="1055"/>
                  <a:pt x="1232" y="984"/>
                  <a:pt x="1243" y="917"/>
                </a:cubicBezTo>
                <a:lnTo>
                  <a:pt x="1243" y="917"/>
                </a:lnTo>
                <a:cubicBezTo>
                  <a:pt x="1261" y="817"/>
                  <a:pt x="1314" y="679"/>
                  <a:pt x="1456" y="536"/>
                </a:cubicBezTo>
                <a:lnTo>
                  <a:pt x="1456" y="536"/>
                </a:lnTo>
                <a:cubicBezTo>
                  <a:pt x="1456" y="536"/>
                  <a:pt x="1455" y="535"/>
                  <a:pt x="1452" y="534"/>
                </a:cubicBezTo>
                <a:lnTo>
                  <a:pt x="1452" y="373"/>
                </a:lnTo>
                <a:lnTo>
                  <a:pt x="1453" y="373"/>
                </a:lnTo>
                <a:lnTo>
                  <a:pt x="1453" y="137"/>
                </a:lnTo>
                <a:lnTo>
                  <a:pt x="1453" y="137"/>
                </a:lnTo>
                <a:cubicBezTo>
                  <a:pt x="1393" y="203"/>
                  <a:pt x="1314" y="250"/>
                  <a:pt x="1234" y="286"/>
                </a:cubicBezTo>
                <a:lnTo>
                  <a:pt x="1234" y="286"/>
                </a:lnTo>
                <a:cubicBezTo>
                  <a:pt x="1226" y="289"/>
                  <a:pt x="1219" y="292"/>
                  <a:pt x="1212" y="295"/>
                </a:cubicBezTo>
                <a:lnTo>
                  <a:pt x="1283" y="229"/>
                </a:lnTo>
                <a:lnTo>
                  <a:pt x="1223" y="134"/>
                </a:lnTo>
                <a:lnTo>
                  <a:pt x="1018" y="134"/>
                </a:lnTo>
                <a:lnTo>
                  <a:pt x="1018" y="134"/>
                </a:lnTo>
                <a:cubicBezTo>
                  <a:pt x="1027" y="120"/>
                  <a:pt x="1033" y="104"/>
                  <a:pt x="1033" y="85"/>
                </a:cubicBezTo>
                <a:lnTo>
                  <a:pt x="1033" y="85"/>
                </a:lnTo>
                <a:cubicBezTo>
                  <a:pt x="1033" y="38"/>
                  <a:pt x="995" y="0"/>
                  <a:pt x="948" y="0"/>
                </a:cubicBezTo>
                <a:lnTo>
                  <a:pt x="948" y="0"/>
                </a:lnTo>
                <a:cubicBezTo>
                  <a:pt x="901" y="0"/>
                  <a:pt x="863" y="38"/>
                  <a:pt x="863" y="85"/>
                </a:cubicBezTo>
                <a:lnTo>
                  <a:pt x="863" y="85"/>
                </a:lnTo>
                <a:cubicBezTo>
                  <a:pt x="863" y="104"/>
                  <a:pt x="869" y="120"/>
                  <a:pt x="879" y="134"/>
                </a:cubicBezTo>
                <a:lnTo>
                  <a:pt x="673" y="134"/>
                </a:lnTo>
                <a:lnTo>
                  <a:pt x="613" y="229"/>
                </a:lnTo>
                <a:lnTo>
                  <a:pt x="685" y="295"/>
                </a:lnTo>
                <a:lnTo>
                  <a:pt x="685" y="295"/>
                </a:lnTo>
                <a:cubicBezTo>
                  <a:pt x="678" y="292"/>
                  <a:pt x="670" y="289"/>
                  <a:pt x="663" y="286"/>
                </a:cubicBezTo>
                <a:lnTo>
                  <a:pt x="663" y="286"/>
                </a:lnTo>
                <a:cubicBezTo>
                  <a:pt x="582" y="250"/>
                  <a:pt x="504" y="203"/>
                  <a:pt x="444" y="137"/>
                </a:cubicBezTo>
                <a:lnTo>
                  <a:pt x="444" y="373"/>
                </a:lnTo>
                <a:lnTo>
                  <a:pt x="444" y="373"/>
                </a:lnTo>
                <a:lnTo>
                  <a:pt x="444" y="534"/>
                </a:lnTo>
                <a:lnTo>
                  <a:pt x="444" y="534"/>
                </a:lnTo>
                <a:cubicBezTo>
                  <a:pt x="442" y="535"/>
                  <a:pt x="441" y="536"/>
                  <a:pt x="441" y="536"/>
                </a:cubicBezTo>
                <a:lnTo>
                  <a:pt x="441" y="536"/>
                </a:lnTo>
                <a:cubicBezTo>
                  <a:pt x="583" y="679"/>
                  <a:pt x="635" y="817"/>
                  <a:pt x="653" y="917"/>
                </a:cubicBezTo>
                <a:lnTo>
                  <a:pt x="653" y="917"/>
                </a:lnTo>
                <a:cubicBezTo>
                  <a:pt x="665" y="984"/>
                  <a:pt x="633" y="1055"/>
                  <a:pt x="570" y="1083"/>
                </a:cubicBezTo>
                <a:lnTo>
                  <a:pt x="570" y="1083"/>
                </a:lnTo>
                <a:cubicBezTo>
                  <a:pt x="544" y="1095"/>
                  <a:pt x="534" y="1115"/>
                  <a:pt x="533" y="1134"/>
                </a:cubicBezTo>
                <a:lnTo>
                  <a:pt x="533" y="1134"/>
                </a:lnTo>
                <a:cubicBezTo>
                  <a:pt x="530" y="1176"/>
                  <a:pt x="514" y="1216"/>
                  <a:pt x="486" y="1247"/>
                </a:cubicBezTo>
                <a:lnTo>
                  <a:pt x="486" y="1247"/>
                </a:lnTo>
                <a:cubicBezTo>
                  <a:pt x="419" y="1322"/>
                  <a:pt x="483" y="1376"/>
                  <a:pt x="534" y="1405"/>
                </a:cubicBezTo>
                <a:lnTo>
                  <a:pt x="534" y="1405"/>
                </a:lnTo>
                <a:cubicBezTo>
                  <a:pt x="569" y="1423"/>
                  <a:pt x="593" y="1456"/>
                  <a:pt x="603" y="1494"/>
                </a:cubicBezTo>
                <a:lnTo>
                  <a:pt x="603" y="1494"/>
                </a:lnTo>
                <a:cubicBezTo>
                  <a:pt x="744" y="2062"/>
                  <a:pt x="565" y="2644"/>
                  <a:pt x="481" y="2870"/>
                </a:cubicBezTo>
                <a:lnTo>
                  <a:pt x="481" y="2870"/>
                </a:lnTo>
                <a:cubicBezTo>
                  <a:pt x="451" y="2950"/>
                  <a:pt x="427" y="3032"/>
                  <a:pt x="408" y="3116"/>
                </a:cubicBezTo>
                <a:lnTo>
                  <a:pt x="372" y="3278"/>
                </a:lnTo>
                <a:lnTo>
                  <a:pt x="372" y="3278"/>
                </a:lnTo>
                <a:cubicBezTo>
                  <a:pt x="367" y="3301"/>
                  <a:pt x="346" y="3318"/>
                  <a:pt x="322" y="3318"/>
                </a:cubicBezTo>
                <a:lnTo>
                  <a:pt x="322" y="3318"/>
                </a:lnTo>
                <a:cubicBezTo>
                  <a:pt x="228" y="3318"/>
                  <a:pt x="146" y="3386"/>
                  <a:pt x="137" y="3479"/>
                </a:cubicBezTo>
                <a:lnTo>
                  <a:pt x="137" y="3479"/>
                </a:lnTo>
                <a:cubicBezTo>
                  <a:pt x="129" y="3567"/>
                  <a:pt x="186" y="3643"/>
                  <a:pt x="265" y="3667"/>
                </a:cubicBezTo>
                <a:lnTo>
                  <a:pt x="265" y="3693"/>
                </a:lnTo>
                <a:lnTo>
                  <a:pt x="265" y="3693"/>
                </a:lnTo>
                <a:cubicBezTo>
                  <a:pt x="118" y="3695"/>
                  <a:pt x="0" y="3820"/>
                  <a:pt x="12" y="3969"/>
                </a:cubicBezTo>
                <a:lnTo>
                  <a:pt x="12" y="3969"/>
                </a:lnTo>
                <a:cubicBezTo>
                  <a:pt x="22" y="4105"/>
                  <a:pt x="141" y="4207"/>
                  <a:pt x="277" y="4207"/>
                </a:cubicBezTo>
                <a:lnTo>
                  <a:pt x="948" y="4207"/>
                </a:lnTo>
                <a:lnTo>
                  <a:pt x="1619" y="4207"/>
                </a:lnTo>
                <a:lnTo>
                  <a:pt x="1619" y="4207"/>
                </a:lnTo>
                <a:cubicBezTo>
                  <a:pt x="1755" y="4207"/>
                  <a:pt x="1875" y="4105"/>
                  <a:pt x="1885" y="3969"/>
                </a:cubicBezTo>
                <a:lnTo>
                  <a:pt x="1885" y="3969"/>
                </a:lnTo>
                <a:cubicBezTo>
                  <a:pt x="1896" y="3820"/>
                  <a:pt x="1778" y="3695"/>
                  <a:pt x="1632" y="3693"/>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6" name="Freeform 4">
            <a:extLst>
              <a:ext uri="{FF2B5EF4-FFF2-40B4-BE49-F238E27FC236}">
                <a16:creationId xmlns:a16="http://schemas.microsoft.com/office/drawing/2014/main" xmlns="" id="{9F7B020A-F02E-431B-91D9-C8985F912F49}"/>
              </a:ext>
            </a:extLst>
          </p:cNvPr>
          <p:cNvSpPr>
            <a:spLocks noChangeArrowheads="1"/>
          </p:cNvSpPr>
          <p:nvPr/>
        </p:nvSpPr>
        <p:spPr bwMode="auto">
          <a:xfrm>
            <a:off x="7790254" y="2631449"/>
            <a:ext cx="1073483" cy="2379140"/>
          </a:xfrm>
          <a:custGeom>
            <a:avLst/>
            <a:gdLst>
              <a:gd name="T0" fmla="*/ 1631 w 1897"/>
              <a:gd name="T1" fmla="*/ 3660 h 4201"/>
              <a:gd name="T2" fmla="*/ 1759 w 1897"/>
              <a:gd name="T3" fmla="*/ 3472 h 4201"/>
              <a:gd name="T4" fmla="*/ 1574 w 1897"/>
              <a:gd name="T5" fmla="*/ 3311 h 4201"/>
              <a:gd name="T6" fmla="*/ 1524 w 1897"/>
              <a:gd name="T7" fmla="*/ 3271 h 4201"/>
              <a:gd name="T8" fmla="*/ 1488 w 1897"/>
              <a:gd name="T9" fmla="*/ 3109 h 4201"/>
              <a:gd name="T10" fmla="*/ 1415 w 1897"/>
              <a:gd name="T11" fmla="*/ 2863 h 4201"/>
              <a:gd name="T12" fmla="*/ 1294 w 1897"/>
              <a:gd name="T13" fmla="*/ 2083 h 4201"/>
              <a:gd name="T14" fmla="*/ 1362 w 1897"/>
              <a:gd name="T15" fmla="*/ 1993 h 4201"/>
              <a:gd name="T16" fmla="*/ 1411 w 1897"/>
              <a:gd name="T17" fmla="*/ 1836 h 4201"/>
              <a:gd name="T18" fmla="*/ 1363 w 1897"/>
              <a:gd name="T19" fmla="*/ 1723 h 4201"/>
              <a:gd name="T20" fmla="*/ 1326 w 1897"/>
              <a:gd name="T21" fmla="*/ 1672 h 4201"/>
              <a:gd name="T22" fmla="*/ 1243 w 1897"/>
              <a:gd name="T23" fmla="*/ 1506 h 4201"/>
              <a:gd name="T24" fmla="*/ 1455 w 1897"/>
              <a:gd name="T25" fmla="*/ 1125 h 4201"/>
              <a:gd name="T26" fmla="*/ 1452 w 1897"/>
              <a:gd name="T27" fmla="*/ 962 h 4201"/>
              <a:gd name="T28" fmla="*/ 1452 w 1897"/>
              <a:gd name="T29" fmla="*/ 726 h 4201"/>
              <a:gd name="T30" fmla="*/ 1371 w 1897"/>
              <a:gd name="T31" fmla="*/ 797 h 4201"/>
              <a:gd name="T32" fmla="*/ 1066 w 1897"/>
              <a:gd name="T33" fmla="*/ 213 h 4201"/>
              <a:gd name="T34" fmla="*/ 1079 w 1897"/>
              <a:gd name="T35" fmla="*/ 150 h 4201"/>
              <a:gd name="T36" fmla="*/ 948 w 1897"/>
              <a:gd name="T37" fmla="*/ 0 h 4201"/>
              <a:gd name="T38" fmla="*/ 817 w 1897"/>
              <a:gd name="T39" fmla="*/ 150 h 4201"/>
              <a:gd name="T40" fmla="*/ 830 w 1897"/>
              <a:gd name="T41" fmla="*/ 213 h 4201"/>
              <a:gd name="T42" fmla="*/ 525 w 1897"/>
              <a:gd name="T43" fmla="*/ 797 h 4201"/>
              <a:gd name="T44" fmla="*/ 443 w 1897"/>
              <a:gd name="T45" fmla="*/ 726 h 4201"/>
              <a:gd name="T46" fmla="*/ 444 w 1897"/>
              <a:gd name="T47" fmla="*/ 962 h 4201"/>
              <a:gd name="T48" fmla="*/ 444 w 1897"/>
              <a:gd name="T49" fmla="*/ 1123 h 4201"/>
              <a:gd name="T50" fmla="*/ 441 w 1897"/>
              <a:gd name="T51" fmla="*/ 1125 h 4201"/>
              <a:gd name="T52" fmla="*/ 653 w 1897"/>
              <a:gd name="T53" fmla="*/ 1506 h 4201"/>
              <a:gd name="T54" fmla="*/ 570 w 1897"/>
              <a:gd name="T55" fmla="*/ 1672 h 4201"/>
              <a:gd name="T56" fmla="*/ 532 w 1897"/>
              <a:gd name="T57" fmla="*/ 1723 h 4201"/>
              <a:gd name="T58" fmla="*/ 486 w 1897"/>
              <a:gd name="T59" fmla="*/ 1836 h 4201"/>
              <a:gd name="T60" fmla="*/ 534 w 1897"/>
              <a:gd name="T61" fmla="*/ 1993 h 4201"/>
              <a:gd name="T62" fmla="*/ 602 w 1897"/>
              <a:gd name="T63" fmla="*/ 2083 h 4201"/>
              <a:gd name="T64" fmla="*/ 480 w 1897"/>
              <a:gd name="T65" fmla="*/ 2863 h 4201"/>
              <a:gd name="T66" fmla="*/ 372 w 1897"/>
              <a:gd name="T67" fmla="*/ 3271 h 4201"/>
              <a:gd name="T68" fmla="*/ 322 w 1897"/>
              <a:gd name="T69" fmla="*/ 3311 h 4201"/>
              <a:gd name="T70" fmla="*/ 137 w 1897"/>
              <a:gd name="T71" fmla="*/ 3472 h 4201"/>
              <a:gd name="T72" fmla="*/ 264 w 1897"/>
              <a:gd name="T73" fmla="*/ 3660 h 4201"/>
              <a:gd name="T74" fmla="*/ 264 w 1897"/>
              <a:gd name="T75" fmla="*/ 3686 h 4201"/>
              <a:gd name="T76" fmla="*/ 11 w 1897"/>
              <a:gd name="T77" fmla="*/ 3962 h 4201"/>
              <a:gd name="T78" fmla="*/ 948 w 1897"/>
              <a:gd name="T79" fmla="*/ 4200 h 4201"/>
              <a:gd name="T80" fmla="*/ 1619 w 1897"/>
              <a:gd name="T81" fmla="*/ 4200 h 4201"/>
              <a:gd name="T82" fmla="*/ 1885 w 1897"/>
              <a:gd name="T83" fmla="*/ 3962 h 4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97" h="4201">
                <a:moveTo>
                  <a:pt x="1631" y="3686"/>
                </a:moveTo>
                <a:lnTo>
                  <a:pt x="1631" y="3660"/>
                </a:lnTo>
                <a:lnTo>
                  <a:pt x="1631" y="3660"/>
                </a:lnTo>
                <a:cubicBezTo>
                  <a:pt x="1711" y="3636"/>
                  <a:pt x="1767" y="3560"/>
                  <a:pt x="1759" y="3472"/>
                </a:cubicBezTo>
                <a:lnTo>
                  <a:pt x="1759" y="3472"/>
                </a:lnTo>
                <a:cubicBezTo>
                  <a:pt x="1751" y="3379"/>
                  <a:pt x="1668" y="3311"/>
                  <a:pt x="1574" y="3311"/>
                </a:cubicBezTo>
                <a:lnTo>
                  <a:pt x="1574" y="3311"/>
                </a:lnTo>
                <a:cubicBezTo>
                  <a:pt x="1550" y="3311"/>
                  <a:pt x="1529" y="3294"/>
                  <a:pt x="1524" y="3271"/>
                </a:cubicBezTo>
                <a:lnTo>
                  <a:pt x="1488" y="3109"/>
                </a:lnTo>
                <a:lnTo>
                  <a:pt x="1488" y="3109"/>
                </a:lnTo>
                <a:cubicBezTo>
                  <a:pt x="1469" y="3025"/>
                  <a:pt x="1446" y="2943"/>
                  <a:pt x="1415" y="2863"/>
                </a:cubicBezTo>
                <a:lnTo>
                  <a:pt x="1415" y="2863"/>
                </a:lnTo>
                <a:cubicBezTo>
                  <a:pt x="1331" y="2637"/>
                  <a:pt x="1152" y="2651"/>
                  <a:pt x="1294" y="2083"/>
                </a:cubicBezTo>
                <a:lnTo>
                  <a:pt x="1294" y="2083"/>
                </a:lnTo>
                <a:cubicBezTo>
                  <a:pt x="1303" y="2045"/>
                  <a:pt x="1328" y="2012"/>
                  <a:pt x="1362" y="1993"/>
                </a:cubicBezTo>
                <a:lnTo>
                  <a:pt x="1362" y="1993"/>
                </a:lnTo>
                <a:cubicBezTo>
                  <a:pt x="1413" y="1965"/>
                  <a:pt x="1477" y="1911"/>
                  <a:pt x="1411" y="1836"/>
                </a:cubicBezTo>
                <a:lnTo>
                  <a:pt x="1411" y="1836"/>
                </a:lnTo>
                <a:cubicBezTo>
                  <a:pt x="1382" y="1805"/>
                  <a:pt x="1367" y="1765"/>
                  <a:pt x="1363" y="1723"/>
                </a:cubicBezTo>
                <a:lnTo>
                  <a:pt x="1363" y="1723"/>
                </a:lnTo>
                <a:cubicBezTo>
                  <a:pt x="1362" y="1704"/>
                  <a:pt x="1352" y="1684"/>
                  <a:pt x="1326" y="1672"/>
                </a:cubicBezTo>
                <a:lnTo>
                  <a:pt x="1326" y="1672"/>
                </a:lnTo>
                <a:cubicBezTo>
                  <a:pt x="1264" y="1644"/>
                  <a:pt x="1231" y="1573"/>
                  <a:pt x="1243" y="1506"/>
                </a:cubicBezTo>
                <a:lnTo>
                  <a:pt x="1243" y="1506"/>
                </a:lnTo>
                <a:cubicBezTo>
                  <a:pt x="1261" y="1406"/>
                  <a:pt x="1314" y="1268"/>
                  <a:pt x="1455" y="1125"/>
                </a:cubicBezTo>
                <a:lnTo>
                  <a:pt x="1455" y="1125"/>
                </a:lnTo>
                <a:cubicBezTo>
                  <a:pt x="1455" y="1125"/>
                  <a:pt x="1454" y="1124"/>
                  <a:pt x="1452" y="1123"/>
                </a:cubicBezTo>
                <a:lnTo>
                  <a:pt x="1452" y="962"/>
                </a:lnTo>
                <a:lnTo>
                  <a:pt x="1452" y="962"/>
                </a:lnTo>
                <a:lnTo>
                  <a:pt x="1452" y="726"/>
                </a:lnTo>
                <a:lnTo>
                  <a:pt x="1452" y="726"/>
                </a:lnTo>
                <a:cubicBezTo>
                  <a:pt x="1428" y="753"/>
                  <a:pt x="1400" y="776"/>
                  <a:pt x="1371" y="797"/>
                </a:cubicBezTo>
                <a:lnTo>
                  <a:pt x="1371" y="797"/>
                </a:lnTo>
                <a:cubicBezTo>
                  <a:pt x="1350" y="645"/>
                  <a:pt x="1273" y="445"/>
                  <a:pt x="1066" y="213"/>
                </a:cubicBezTo>
                <a:lnTo>
                  <a:pt x="1066" y="213"/>
                </a:lnTo>
                <a:cubicBezTo>
                  <a:pt x="1074" y="194"/>
                  <a:pt x="1079" y="172"/>
                  <a:pt x="1079" y="150"/>
                </a:cubicBezTo>
                <a:lnTo>
                  <a:pt x="1079" y="150"/>
                </a:lnTo>
                <a:cubicBezTo>
                  <a:pt x="1079" y="67"/>
                  <a:pt x="1020" y="0"/>
                  <a:pt x="948" y="0"/>
                </a:cubicBezTo>
                <a:lnTo>
                  <a:pt x="948" y="0"/>
                </a:lnTo>
                <a:cubicBezTo>
                  <a:pt x="875" y="0"/>
                  <a:pt x="817" y="67"/>
                  <a:pt x="817" y="150"/>
                </a:cubicBezTo>
                <a:lnTo>
                  <a:pt x="817" y="150"/>
                </a:lnTo>
                <a:cubicBezTo>
                  <a:pt x="817" y="172"/>
                  <a:pt x="822" y="194"/>
                  <a:pt x="830" y="213"/>
                </a:cubicBezTo>
                <a:lnTo>
                  <a:pt x="830" y="213"/>
                </a:lnTo>
                <a:cubicBezTo>
                  <a:pt x="623" y="445"/>
                  <a:pt x="546" y="645"/>
                  <a:pt x="525" y="797"/>
                </a:cubicBezTo>
                <a:lnTo>
                  <a:pt x="525" y="797"/>
                </a:lnTo>
                <a:cubicBezTo>
                  <a:pt x="496" y="776"/>
                  <a:pt x="468" y="753"/>
                  <a:pt x="443" y="726"/>
                </a:cubicBezTo>
                <a:lnTo>
                  <a:pt x="443" y="962"/>
                </a:lnTo>
                <a:lnTo>
                  <a:pt x="444" y="962"/>
                </a:lnTo>
                <a:lnTo>
                  <a:pt x="444" y="1123"/>
                </a:lnTo>
                <a:lnTo>
                  <a:pt x="444" y="1123"/>
                </a:lnTo>
                <a:cubicBezTo>
                  <a:pt x="442" y="1124"/>
                  <a:pt x="441" y="1125"/>
                  <a:pt x="441" y="1125"/>
                </a:cubicBezTo>
                <a:lnTo>
                  <a:pt x="441" y="1125"/>
                </a:lnTo>
                <a:cubicBezTo>
                  <a:pt x="582" y="1268"/>
                  <a:pt x="635" y="1406"/>
                  <a:pt x="653" y="1506"/>
                </a:cubicBezTo>
                <a:lnTo>
                  <a:pt x="653" y="1506"/>
                </a:lnTo>
                <a:cubicBezTo>
                  <a:pt x="664" y="1573"/>
                  <a:pt x="632" y="1644"/>
                  <a:pt x="570" y="1672"/>
                </a:cubicBezTo>
                <a:lnTo>
                  <a:pt x="570" y="1672"/>
                </a:lnTo>
                <a:cubicBezTo>
                  <a:pt x="544" y="1684"/>
                  <a:pt x="534" y="1704"/>
                  <a:pt x="532" y="1723"/>
                </a:cubicBezTo>
                <a:lnTo>
                  <a:pt x="532" y="1723"/>
                </a:lnTo>
                <a:cubicBezTo>
                  <a:pt x="529" y="1765"/>
                  <a:pt x="514" y="1805"/>
                  <a:pt x="486" y="1836"/>
                </a:cubicBezTo>
                <a:lnTo>
                  <a:pt x="486" y="1836"/>
                </a:lnTo>
                <a:cubicBezTo>
                  <a:pt x="419" y="1911"/>
                  <a:pt x="482" y="1965"/>
                  <a:pt x="534" y="1993"/>
                </a:cubicBezTo>
                <a:lnTo>
                  <a:pt x="534" y="1993"/>
                </a:lnTo>
                <a:cubicBezTo>
                  <a:pt x="568" y="2012"/>
                  <a:pt x="593" y="2045"/>
                  <a:pt x="602" y="2083"/>
                </a:cubicBezTo>
                <a:lnTo>
                  <a:pt x="602" y="2083"/>
                </a:lnTo>
                <a:cubicBezTo>
                  <a:pt x="744" y="2651"/>
                  <a:pt x="565" y="2637"/>
                  <a:pt x="480" y="2863"/>
                </a:cubicBezTo>
                <a:lnTo>
                  <a:pt x="480" y="2863"/>
                </a:lnTo>
                <a:cubicBezTo>
                  <a:pt x="450" y="2943"/>
                  <a:pt x="426" y="3025"/>
                  <a:pt x="408" y="3109"/>
                </a:cubicBezTo>
                <a:lnTo>
                  <a:pt x="372" y="3271"/>
                </a:lnTo>
                <a:lnTo>
                  <a:pt x="372" y="3271"/>
                </a:lnTo>
                <a:cubicBezTo>
                  <a:pt x="367" y="3294"/>
                  <a:pt x="346" y="3311"/>
                  <a:pt x="322" y="3311"/>
                </a:cubicBezTo>
                <a:lnTo>
                  <a:pt x="322" y="3311"/>
                </a:lnTo>
                <a:cubicBezTo>
                  <a:pt x="228" y="3311"/>
                  <a:pt x="145" y="3379"/>
                  <a:pt x="137" y="3472"/>
                </a:cubicBezTo>
                <a:lnTo>
                  <a:pt x="137" y="3472"/>
                </a:lnTo>
                <a:cubicBezTo>
                  <a:pt x="128" y="3560"/>
                  <a:pt x="185" y="3636"/>
                  <a:pt x="264" y="3660"/>
                </a:cubicBezTo>
                <a:lnTo>
                  <a:pt x="264" y="3686"/>
                </a:lnTo>
                <a:lnTo>
                  <a:pt x="264" y="3686"/>
                </a:lnTo>
                <a:cubicBezTo>
                  <a:pt x="118" y="3688"/>
                  <a:pt x="0" y="3813"/>
                  <a:pt x="11" y="3962"/>
                </a:cubicBezTo>
                <a:lnTo>
                  <a:pt x="11" y="3962"/>
                </a:lnTo>
                <a:cubicBezTo>
                  <a:pt x="22" y="4098"/>
                  <a:pt x="141" y="4200"/>
                  <a:pt x="277" y="4200"/>
                </a:cubicBezTo>
                <a:lnTo>
                  <a:pt x="948" y="4200"/>
                </a:lnTo>
                <a:lnTo>
                  <a:pt x="1619" y="4200"/>
                </a:lnTo>
                <a:lnTo>
                  <a:pt x="1619" y="4200"/>
                </a:lnTo>
                <a:cubicBezTo>
                  <a:pt x="1755" y="4200"/>
                  <a:pt x="1875" y="4098"/>
                  <a:pt x="1885" y="3962"/>
                </a:cubicBezTo>
                <a:lnTo>
                  <a:pt x="1885" y="3962"/>
                </a:lnTo>
                <a:cubicBezTo>
                  <a:pt x="1896" y="3813"/>
                  <a:pt x="1778" y="3688"/>
                  <a:pt x="1631" y="3686"/>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7" name="Freeform 5">
            <a:extLst>
              <a:ext uri="{FF2B5EF4-FFF2-40B4-BE49-F238E27FC236}">
                <a16:creationId xmlns:a16="http://schemas.microsoft.com/office/drawing/2014/main" xmlns="" id="{72FABD36-25FB-43F4-B7F8-552A8B39D8BE}"/>
              </a:ext>
            </a:extLst>
          </p:cNvPr>
          <p:cNvSpPr>
            <a:spLocks noChangeArrowheads="1"/>
          </p:cNvSpPr>
          <p:nvPr/>
        </p:nvSpPr>
        <p:spPr bwMode="auto">
          <a:xfrm>
            <a:off x="6068250" y="2822430"/>
            <a:ext cx="1440466" cy="2159448"/>
          </a:xfrm>
          <a:custGeom>
            <a:avLst/>
            <a:gdLst>
              <a:gd name="T0" fmla="*/ 395 w 2545"/>
              <a:gd name="T1" fmla="*/ 3298 h 3814"/>
              <a:gd name="T2" fmla="*/ 395 w 2545"/>
              <a:gd name="T3" fmla="*/ 3268 h 3814"/>
              <a:gd name="T4" fmla="*/ 313 w 2545"/>
              <a:gd name="T5" fmla="*/ 3062 h 3814"/>
              <a:gd name="T6" fmla="*/ 451 w 2545"/>
              <a:gd name="T7" fmla="*/ 2924 h 3814"/>
              <a:gd name="T8" fmla="*/ 499 w 2545"/>
              <a:gd name="T9" fmla="*/ 2924 h 3814"/>
              <a:gd name="T10" fmla="*/ 439 w 2545"/>
              <a:gd name="T11" fmla="*/ 1475 h 3814"/>
              <a:gd name="T12" fmla="*/ 471 w 2545"/>
              <a:gd name="T13" fmla="*/ 1181 h 3814"/>
              <a:gd name="T14" fmla="*/ 958 w 2545"/>
              <a:gd name="T15" fmla="*/ 602 h 3814"/>
              <a:gd name="T16" fmla="*/ 1125 w 2545"/>
              <a:gd name="T17" fmla="*/ 267 h 3814"/>
              <a:gd name="T18" fmla="*/ 1198 w 2545"/>
              <a:gd name="T19" fmla="*/ 230 h 3814"/>
              <a:gd name="T20" fmla="*/ 1340 w 2545"/>
              <a:gd name="T21" fmla="*/ 341 h 3814"/>
              <a:gd name="T22" fmla="*/ 1366 w 2545"/>
              <a:gd name="T23" fmla="*/ 114 h 3814"/>
              <a:gd name="T24" fmla="*/ 1477 w 2545"/>
              <a:gd name="T25" fmla="*/ 366 h 3814"/>
              <a:gd name="T26" fmla="*/ 1719 w 2545"/>
              <a:gd name="T27" fmla="*/ 514 h 3814"/>
              <a:gd name="T28" fmla="*/ 1853 w 2545"/>
              <a:gd name="T29" fmla="*/ 636 h 3814"/>
              <a:gd name="T30" fmla="*/ 2352 w 2545"/>
              <a:gd name="T31" fmla="*/ 848 h 3814"/>
              <a:gd name="T32" fmla="*/ 2436 w 2545"/>
              <a:gd name="T33" fmla="*/ 864 h 3814"/>
              <a:gd name="T34" fmla="*/ 2463 w 2545"/>
              <a:gd name="T35" fmla="*/ 897 h 3814"/>
              <a:gd name="T36" fmla="*/ 2495 w 2545"/>
              <a:gd name="T37" fmla="*/ 1042 h 3814"/>
              <a:gd name="T38" fmla="*/ 2476 w 2545"/>
              <a:gd name="T39" fmla="*/ 1216 h 3814"/>
              <a:gd name="T40" fmla="*/ 2328 w 2545"/>
              <a:gd name="T41" fmla="*/ 1330 h 3814"/>
              <a:gd name="T42" fmla="*/ 2328 w 2545"/>
              <a:gd name="T43" fmla="*/ 1330 h 3814"/>
              <a:gd name="T44" fmla="*/ 2212 w 2545"/>
              <a:gd name="T45" fmla="*/ 1254 h 3814"/>
              <a:gd name="T46" fmla="*/ 2070 w 2545"/>
              <a:gd name="T47" fmla="*/ 1263 h 3814"/>
              <a:gd name="T48" fmla="*/ 1969 w 2545"/>
              <a:gd name="T49" fmla="*/ 1270 h 3814"/>
              <a:gd name="T50" fmla="*/ 1892 w 2545"/>
              <a:gd name="T51" fmla="*/ 1283 h 3814"/>
              <a:gd name="T52" fmla="*/ 1793 w 2545"/>
              <a:gd name="T53" fmla="*/ 1263 h 3814"/>
              <a:gd name="T54" fmla="*/ 1531 w 2545"/>
              <a:gd name="T55" fmla="*/ 1308 h 3814"/>
              <a:gd name="T56" fmla="*/ 1765 w 2545"/>
              <a:gd name="T57" fmla="*/ 2238 h 3814"/>
              <a:gd name="T58" fmla="*/ 1703 w 2545"/>
              <a:gd name="T59" fmla="*/ 2861 h 3814"/>
              <a:gd name="T60" fmla="*/ 1831 w 2545"/>
              <a:gd name="T61" fmla="*/ 2924 h 3814"/>
              <a:gd name="T62" fmla="*/ 1969 w 2545"/>
              <a:gd name="T63" fmla="*/ 3062 h 3814"/>
              <a:gd name="T64" fmla="*/ 1969 w 2545"/>
              <a:gd name="T65" fmla="*/ 3142 h 3814"/>
              <a:gd name="T66" fmla="*/ 1920 w 2545"/>
              <a:gd name="T67" fmla="*/ 3247 h 3814"/>
              <a:gd name="T68" fmla="*/ 1991 w 2545"/>
              <a:gd name="T69" fmla="*/ 3298 h 3814"/>
              <a:gd name="T70" fmla="*/ 2129 w 2545"/>
              <a:gd name="T71" fmla="*/ 3437 h 3814"/>
              <a:gd name="T72" fmla="*/ 2129 w 2545"/>
              <a:gd name="T73" fmla="*/ 3675 h 3814"/>
              <a:gd name="T74" fmla="*/ 325 w 2545"/>
              <a:gd name="T75" fmla="*/ 3813 h 3814"/>
              <a:gd name="T76" fmla="*/ 188 w 2545"/>
              <a:gd name="T77" fmla="*/ 3675 h 3814"/>
              <a:gd name="T78" fmla="*/ 188 w 2545"/>
              <a:gd name="T79" fmla="*/ 3437 h 3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45" h="3814">
                <a:moveTo>
                  <a:pt x="325" y="3298"/>
                </a:moveTo>
                <a:lnTo>
                  <a:pt x="395" y="3298"/>
                </a:lnTo>
                <a:lnTo>
                  <a:pt x="395" y="3268"/>
                </a:lnTo>
                <a:lnTo>
                  <a:pt x="395" y="3268"/>
                </a:lnTo>
                <a:cubicBezTo>
                  <a:pt x="347" y="3247"/>
                  <a:pt x="313" y="3199"/>
                  <a:pt x="313" y="3142"/>
                </a:cubicBezTo>
                <a:lnTo>
                  <a:pt x="313" y="3062"/>
                </a:lnTo>
                <a:lnTo>
                  <a:pt x="313" y="3062"/>
                </a:lnTo>
                <a:cubicBezTo>
                  <a:pt x="313" y="2987"/>
                  <a:pt x="375" y="2924"/>
                  <a:pt x="451" y="2924"/>
                </a:cubicBezTo>
                <a:lnTo>
                  <a:pt x="499" y="2924"/>
                </a:lnTo>
                <a:lnTo>
                  <a:pt x="499" y="2924"/>
                </a:lnTo>
                <a:cubicBezTo>
                  <a:pt x="0" y="2189"/>
                  <a:pt x="439" y="1475"/>
                  <a:pt x="439" y="1475"/>
                </a:cubicBezTo>
                <a:lnTo>
                  <a:pt x="439" y="1475"/>
                </a:lnTo>
                <a:cubicBezTo>
                  <a:pt x="487" y="1371"/>
                  <a:pt x="412" y="1272"/>
                  <a:pt x="471" y="1181"/>
                </a:cubicBezTo>
                <a:lnTo>
                  <a:pt x="471" y="1181"/>
                </a:lnTo>
                <a:cubicBezTo>
                  <a:pt x="695" y="838"/>
                  <a:pt x="958" y="602"/>
                  <a:pt x="958" y="602"/>
                </a:cubicBezTo>
                <a:lnTo>
                  <a:pt x="958" y="602"/>
                </a:lnTo>
                <a:cubicBezTo>
                  <a:pt x="1212" y="426"/>
                  <a:pt x="1125" y="267"/>
                  <a:pt x="1125" y="267"/>
                </a:cubicBezTo>
                <a:lnTo>
                  <a:pt x="1125" y="267"/>
                </a:lnTo>
                <a:cubicBezTo>
                  <a:pt x="1112" y="164"/>
                  <a:pt x="1194" y="161"/>
                  <a:pt x="1194" y="161"/>
                </a:cubicBezTo>
                <a:lnTo>
                  <a:pt x="1198" y="230"/>
                </a:lnTo>
                <a:lnTo>
                  <a:pt x="1270" y="366"/>
                </a:lnTo>
                <a:lnTo>
                  <a:pt x="1340" y="341"/>
                </a:lnTo>
                <a:lnTo>
                  <a:pt x="1340" y="341"/>
                </a:lnTo>
                <a:cubicBezTo>
                  <a:pt x="1437" y="287"/>
                  <a:pt x="1237" y="0"/>
                  <a:pt x="1366" y="114"/>
                </a:cubicBezTo>
                <a:lnTo>
                  <a:pt x="1366" y="114"/>
                </a:lnTo>
                <a:cubicBezTo>
                  <a:pt x="1496" y="227"/>
                  <a:pt x="1477" y="366"/>
                  <a:pt x="1477" y="366"/>
                </a:cubicBezTo>
                <a:lnTo>
                  <a:pt x="1477" y="366"/>
                </a:lnTo>
                <a:cubicBezTo>
                  <a:pt x="1500" y="401"/>
                  <a:pt x="1719" y="514"/>
                  <a:pt x="1719" y="514"/>
                </a:cubicBezTo>
                <a:lnTo>
                  <a:pt x="1799" y="539"/>
                </a:lnTo>
                <a:lnTo>
                  <a:pt x="1853" y="636"/>
                </a:lnTo>
                <a:lnTo>
                  <a:pt x="1853" y="636"/>
                </a:lnTo>
                <a:cubicBezTo>
                  <a:pt x="1879" y="666"/>
                  <a:pt x="2352" y="848"/>
                  <a:pt x="2352" y="848"/>
                </a:cubicBezTo>
                <a:lnTo>
                  <a:pt x="2436" y="864"/>
                </a:lnTo>
                <a:lnTo>
                  <a:pt x="2436" y="864"/>
                </a:lnTo>
                <a:cubicBezTo>
                  <a:pt x="2436" y="864"/>
                  <a:pt x="2394" y="860"/>
                  <a:pt x="2463" y="897"/>
                </a:cubicBezTo>
                <a:lnTo>
                  <a:pt x="2463" y="897"/>
                </a:lnTo>
                <a:cubicBezTo>
                  <a:pt x="2531" y="934"/>
                  <a:pt x="2495" y="1042"/>
                  <a:pt x="2495" y="1042"/>
                </a:cubicBezTo>
                <a:lnTo>
                  <a:pt x="2495" y="1042"/>
                </a:lnTo>
                <a:cubicBezTo>
                  <a:pt x="2544" y="1139"/>
                  <a:pt x="2511" y="1190"/>
                  <a:pt x="2476" y="1216"/>
                </a:cubicBezTo>
                <a:lnTo>
                  <a:pt x="2476" y="1216"/>
                </a:lnTo>
                <a:lnTo>
                  <a:pt x="2476" y="1216"/>
                </a:lnTo>
                <a:cubicBezTo>
                  <a:pt x="2476" y="1216"/>
                  <a:pt x="2453" y="1336"/>
                  <a:pt x="2328" y="1330"/>
                </a:cubicBezTo>
                <a:lnTo>
                  <a:pt x="2328" y="1330"/>
                </a:lnTo>
                <a:lnTo>
                  <a:pt x="2328" y="1330"/>
                </a:lnTo>
                <a:cubicBezTo>
                  <a:pt x="2263" y="1326"/>
                  <a:pt x="2212" y="1254"/>
                  <a:pt x="2212" y="1254"/>
                </a:cubicBezTo>
                <a:lnTo>
                  <a:pt x="2212" y="1254"/>
                </a:lnTo>
                <a:cubicBezTo>
                  <a:pt x="2199" y="1287"/>
                  <a:pt x="2070" y="1263"/>
                  <a:pt x="2070" y="1263"/>
                </a:cubicBezTo>
                <a:lnTo>
                  <a:pt x="2070" y="1263"/>
                </a:lnTo>
                <a:cubicBezTo>
                  <a:pt x="2070" y="1263"/>
                  <a:pt x="1993" y="1289"/>
                  <a:pt x="1969" y="1270"/>
                </a:cubicBezTo>
                <a:lnTo>
                  <a:pt x="1969" y="1270"/>
                </a:lnTo>
                <a:cubicBezTo>
                  <a:pt x="1946" y="1252"/>
                  <a:pt x="1906" y="1301"/>
                  <a:pt x="1892" y="1283"/>
                </a:cubicBezTo>
                <a:lnTo>
                  <a:pt x="1892" y="1283"/>
                </a:lnTo>
                <a:cubicBezTo>
                  <a:pt x="1878" y="1264"/>
                  <a:pt x="1793" y="1263"/>
                  <a:pt x="1793" y="1263"/>
                </a:cubicBezTo>
                <a:lnTo>
                  <a:pt x="1793" y="1263"/>
                </a:lnTo>
                <a:cubicBezTo>
                  <a:pt x="1661" y="1367"/>
                  <a:pt x="1531" y="1308"/>
                  <a:pt x="1531" y="1308"/>
                </a:cubicBezTo>
                <a:lnTo>
                  <a:pt x="1531" y="1308"/>
                </a:lnTo>
                <a:cubicBezTo>
                  <a:pt x="1213" y="1348"/>
                  <a:pt x="1728" y="2162"/>
                  <a:pt x="1728" y="2162"/>
                </a:cubicBezTo>
                <a:lnTo>
                  <a:pt x="1765" y="2238"/>
                </a:lnTo>
                <a:lnTo>
                  <a:pt x="1765" y="2238"/>
                </a:lnTo>
                <a:cubicBezTo>
                  <a:pt x="1850" y="2569"/>
                  <a:pt x="1809" y="2765"/>
                  <a:pt x="1703" y="2861"/>
                </a:cubicBezTo>
                <a:lnTo>
                  <a:pt x="1731" y="2924"/>
                </a:lnTo>
                <a:lnTo>
                  <a:pt x="1831" y="2924"/>
                </a:lnTo>
                <a:lnTo>
                  <a:pt x="1831" y="2924"/>
                </a:lnTo>
                <a:cubicBezTo>
                  <a:pt x="1907" y="2924"/>
                  <a:pt x="1969" y="2987"/>
                  <a:pt x="1969" y="3062"/>
                </a:cubicBezTo>
                <a:lnTo>
                  <a:pt x="1969" y="3142"/>
                </a:lnTo>
                <a:lnTo>
                  <a:pt x="1969" y="3142"/>
                </a:lnTo>
                <a:cubicBezTo>
                  <a:pt x="1969" y="3185"/>
                  <a:pt x="1950" y="3222"/>
                  <a:pt x="1920" y="3247"/>
                </a:cubicBezTo>
                <a:lnTo>
                  <a:pt x="1920" y="3247"/>
                </a:lnTo>
                <a:lnTo>
                  <a:pt x="1920" y="3298"/>
                </a:lnTo>
                <a:lnTo>
                  <a:pt x="1991" y="3298"/>
                </a:lnTo>
                <a:lnTo>
                  <a:pt x="1991" y="3298"/>
                </a:lnTo>
                <a:cubicBezTo>
                  <a:pt x="2067" y="3298"/>
                  <a:pt x="2129" y="3361"/>
                  <a:pt x="2129" y="3437"/>
                </a:cubicBezTo>
                <a:lnTo>
                  <a:pt x="2129" y="3675"/>
                </a:lnTo>
                <a:lnTo>
                  <a:pt x="2129" y="3675"/>
                </a:lnTo>
                <a:cubicBezTo>
                  <a:pt x="2129" y="3751"/>
                  <a:pt x="2067" y="3813"/>
                  <a:pt x="1991" y="3813"/>
                </a:cubicBezTo>
                <a:lnTo>
                  <a:pt x="325" y="3813"/>
                </a:lnTo>
                <a:lnTo>
                  <a:pt x="325" y="3813"/>
                </a:lnTo>
                <a:cubicBezTo>
                  <a:pt x="250" y="3813"/>
                  <a:pt x="188" y="3751"/>
                  <a:pt x="188" y="3675"/>
                </a:cubicBezTo>
                <a:lnTo>
                  <a:pt x="188" y="3437"/>
                </a:lnTo>
                <a:lnTo>
                  <a:pt x="188" y="3437"/>
                </a:lnTo>
                <a:cubicBezTo>
                  <a:pt x="188" y="3361"/>
                  <a:pt x="250" y="3298"/>
                  <a:pt x="325" y="3298"/>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8" name="Freeform 8">
            <a:extLst>
              <a:ext uri="{FF2B5EF4-FFF2-40B4-BE49-F238E27FC236}">
                <a16:creationId xmlns:a16="http://schemas.microsoft.com/office/drawing/2014/main" xmlns="" id="{20A92BA6-FD14-4598-AFE9-0CD4B6B0C5FF}"/>
              </a:ext>
            </a:extLst>
          </p:cNvPr>
          <p:cNvSpPr>
            <a:spLocks noChangeArrowheads="1"/>
          </p:cNvSpPr>
          <p:nvPr/>
        </p:nvSpPr>
        <p:spPr bwMode="auto">
          <a:xfrm>
            <a:off x="4713232" y="2660159"/>
            <a:ext cx="1073483" cy="2321720"/>
          </a:xfrm>
          <a:custGeom>
            <a:avLst/>
            <a:gdLst>
              <a:gd name="T0" fmla="*/ 1631 w 1896"/>
              <a:gd name="T1" fmla="*/ 3601 h 4099"/>
              <a:gd name="T2" fmla="*/ 1758 w 1896"/>
              <a:gd name="T3" fmla="*/ 3429 h 4099"/>
              <a:gd name="T4" fmla="*/ 1573 w 1896"/>
              <a:gd name="T5" fmla="*/ 3281 h 4099"/>
              <a:gd name="T6" fmla="*/ 1523 w 1896"/>
              <a:gd name="T7" fmla="*/ 3244 h 4099"/>
              <a:gd name="T8" fmla="*/ 1487 w 1896"/>
              <a:gd name="T9" fmla="*/ 3094 h 4099"/>
              <a:gd name="T10" fmla="*/ 1415 w 1896"/>
              <a:gd name="T11" fmla="*/ 2868 h 4099"/>
              <a:gd name="T12" fmla="*/ 1293 w 1896"/>
              <a:gd name="T13" fmla="*/ 2152 h 4099"/>
              <a:gd name="T14" fmla="*/ 1352 w 1896"/>
              <a:gd name="T15" fmla="*/ 2074 h 4099"/>
              <a:gd name="T16" fmla="*/ 1365 w 1896"/>
              <a:gd name="T17" fmla="*/ 2067 h 4099"/>
              <a:gd name="T18" fmla="*/ 1437 w 1896"/>
              <a:gd name="T19" fmla="*/ 1975 h 4099"/>
              <a:gd name="T20" fmla="*/ 1450 w 1896"/>
              <a:gd name="T21" fmla="*/ 1274 h 4099"/>
              <a:gd name="T22" fmla="*/ 1454 w 1896"/>
              <a:gd name="T23" fmla="*/ 1270 h 4099"/>
              <a:gd name="T24" fmla="*/ 1451 w 1896"/>
              <a:gd name="T25" fmla="*/ 1269 h 4099"/>
              <a:gd name="T26" fmla="*/ 1451 w 1896"/>
              <a:gd name="T27" fmla="*/ 1120 h 4099"/>
              <a:gd name="T28" fmla="*/ 1451 w 1896"/>
              <a:gd name="T29" fmla="*/ 903 h 4099"/>
              <a:gd name="T30" fmla="*/ 1450 w 1896"/>
              <a:gd name="T31" fmla="*/ 705 h 4099"/>
              <a:gd name="T32" fmla="*/ 1616 w 1896"/>
              <a:gd name="T33" fmla="*/ 446 h 4099"/>
              <a:gd name="T34" fmla="*/ 1616 w 1896"/>
              <a:gd name="T35" fmla="*/ 414 h 4099"/>
              <a:gd name="T36" fmla="*/ 1616 w 1896"/>
              <a:gd name="T37" fmla="*/ 197 h 4099"/>
              <a:gd name="T38" fmla="*/ 1528 w 1896"/>
              <a:gd name="T39" fmla="*/ 142 h 4099"/>
              <a:gd name="T40" fmla="*/ 1334 w 1896"/>
              <a:gd name="T41" fmla="*/ 0 h 4099"/>
              <a:gd name="T42" fmla="*/ 1334 w 1896"/>
              <a:gd name="T43" fmla="*/ 75 h 4099"/>
              <a:gd name="T44" fmla="*/ 1242 w 1896"/>
              <a:gd name="T45" fmla="*/ 134 h 4099"/>
              <a:gd name="T46" fmla="*/ 1183 w 1896"/>
              <a:gd name="T47" fmla="*/ 75 h 4099"/>
              <a:gd name="T48" fmla="*/ 1006 w 1896"/>
              <a:gd name="T49" fmla="*/ 0 h 4099"/>
              <a:gd name="T50" fmla="*/ 1006 w 1896"/>
              <a:gd name="T51" fmla="*/ 75 h 4099"/>
              <a:gd name="T52" fmla="*/ 947 w 1896"/>
              <a:gd name="T53" fmla="*/ 134 h 4099"/>
              <a:gd name="T54" fmla="*/ 922 w 1896"/>
              <a:gd name="T55" fmla="*/ 134 h 4099"/>
              <a:gd name="T56" fmla="*/ 863 w 1896"/>
              <a:gd name="T57" fmla="*/ 0 h 4099"/>
              <a:gd name="T58" fmla="*/ 661 w 1896"/>
              <a:gd name="T59" fmla="*/ 67 h 4099"/>
              <a:gd name="T60" fmla="*/ 603 w 1896"/>
              <a:gd name="T61" fmla="*/ 125 h 4099"/>
              <a:gd name="T62" fmla="*/ 585 w 1896"/>
              <a:gd name="T63" fmla="*/ 125 h 4099"/>
              <a:gd name="T64" fmla="*/ 526 w 1896"/>
              <a:gd name="T65" fmla="*/ 0 h 4099"/>
              <a:gd name="T66" fmla="*/ 343 w 1896"/>
              <a:gd name="T67" fmla="*/ 136 h 4099"/>
              <a:gd name="T68" fmla="*/ 278 w 1896"/>
              <a:gd name="T69" fmla="*/ 200 h 4099"/>
              <a:gd name="T70" fmla="*/ 278 w 1896"/>
              <a:gd name="T71" fmla="*/ 415 h 4099"/>
              <a:gd name="T72" fmla="*/ 296 w 1896"/>
              <a:gd name="T73" fmla="*/ 446 h 4099"/>
              <a:gd name="T74" fmla="*/ 442 w 1896"/>
              <a:gd name="T75" fmla="*/ 874 h 4099"/>
              <a:gd name="T76" fmla="*/ 442 w 1896"/>
              <a:gd name="T77" fmla="*/ 1269 h 4099"/>
              <a:gd name="T78" fmla="*/ 440 w 1896"/>
              <a:gd name="T79" fmla="*/ 1270 h 4099"/>
              <a:gd name="T80" fmla="*/ 442 w 1896"/>
              <a:gd name="T81" fmla="*/ 1273 h 4099"/>
              <a:gd name="T82" fmla="*/ 442 w 1896"/>
              <a:gd name="T83" fmla="*/ 1908 h 4099"/>
              <a:gd name="T84" fmla="*/ 457 w 1896"/>
              <a:gd name="T85" fmla="*/ 1980 h 4099"/>
              <a:gd name="T86" fmla="*/ 521 w 1896"/>
              <a:gd name="T87" fmla="*/ 2062 h 4099"/>
              <a:gd name="T88" fmla="*/ 550 w 1896"/>
              <a:gd name="T89" fmla="*/ 2080 h 4099"/>
              <a:gd name="T90" fmla="*/ 601 w 1896"/>
              <a:gd name="T91" fmla="*/ 2152 h 4099"/>
              <a:gd name="T92" fmla="*/ 479 w 1896"/>
              <a:gd name="T93" fmla="*/ 2868 h 4099"/>
              <a:gd name="T94" fmla="*/ 371 w 1896"/>
              <a:gd name="T95" fmla="*/ 3244 h 4099"/>
              <a:gd name="T96" fmla="*/ 321 w 1896"/>
              <a:gd name="T97" fmla="*/ 3281 h 4099"/>
              <a:gd name="T98" fmla="*/ 136 w 1896"/>
              <a:gd name="T99" fmla="*/ 3429 h 4099"/>
              <a:gd name="T100" fmla="*/ 263 w 1896"/>
              <a:gd name="T101" fmla="*/ 3601 h 4099"/>
              <a:gd name="T102" fmla="*/ 263 w 1896"/>
              <a:gd name="T103" fmla="*/ 3625 h 4099"/>
              <a:gd name="T104" fmla="*/ 10 w 1896"/>
              <a:gd name="T105" fmla="*/ 3879 h 4099"/>
              <a:gd name="T106" fmla="*/ 947 w 1896"/>
              <a:gd name="T107" fmla="*/ 4098 h 4099"/>
              <a:gd name="T108" fmla="*/ 1618 w 1896"/>
              <a:gd name="T109" fmla="*/ 4098 h 4099"/>
              <a:gd name="T110" fmla="*/ 1884 w 1896"/>
              <a:gd name="T111" fmla="*/ 3879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6" h="4099">
                <a:moveTo>
                  <a:pt x="1631" y="3625"/>
                </a:moveTo>
                <a:lnTo>
                  <a:pt x="1631" y="3601"/>
                </a:lnTo>
                <a:lnTo>
                  <a:pt x="1631" y="3601"/>
                </a:lnTo>
                <a:cubicBezTo>
                  <a:pt x="1710" y="3579"/>
                  <a:pt x="1767" y="3510"/>
                  <a:pt x="1758" y="3429"/>
                </a:cubicBezTo>
                <a:lnTo>
                  <a:pt x="1758" y="3429"/>
                </a:lnTo>
                <a:cubicBezTo>
                  <a:pt x="1750" y="3344"/>
                  <a:pt x="1667" y="3281"/>
                  <a:pt x="1573" y="3281"/>
                </a:cubicBezTo>
                <a:lnTo>
                  <a:pt x="1573" y="3281"/>
                </a:lnTo>
                <a:cubicBezTo>
                  <a:pt x="1550" y="3281"/>
                  <a:pt x="1528" y="3265"/>
                  <a:pt x="1523" y="3244"/>
                </a:cubicBezTo>
                <a:lnTo>
                  <a:pt x="1487" y="3094"/>
                </a:lnTo>
                <a:lnTo>
                  <a:pt x="1487" y="3094"/>
                </a:lnTo>
                <a:cubicBezTo>
                  <a:pt x="1469" y="3017"/>
                  <a:pt x="1445" y="2942"/>
                  <a:pt x="1415" y="2868"/>
                </a:cubicBezTo>
                <a:lnTo>
                  <a:pt x="1415" y="2868"/>
                </a:lnTo>
                <a:cubicBezTo>
                  <a:pt x="1330" y="2661"/>
                  <a:pt x="1151" y="2673"/>
                  <a:pt x="1293" y="2152"/>
                </a:cubicBezTo>
                <a:lnTo>
                  <a:pt x="1293" y="2152"/>
                </a:lnTo>
                <a:cubicBezTo>
                  <a:pt x="1301" y="2120"/>
                  <a:pt x="1323" y="2093"/>
                  <a:pt x="1352" y="2074"/>
                </a:cubicBezTo>
                <a:lnTo>
                  <a:pt x="1352" y="2074"/>
                </a:lnTo>
                <a:cubicBezTo>
                  <a:pt x="1356" y="2072"/>
                  <a:pt x="1361" y="2070"/>
                  <a:pt x="1365" y="2067"/>
                </a:cubicBezTo>
                <a:lnTo>
                  <a:pt x="1365" y="2067"/>
                </a:lnTo>
                <a:cubicBezTo>
                  <a:pt x="1401" y="2047"/>
                  <a:pt x="1442" y="2016"/>
                  <a:pt x="1437" y="1975"/>
                </a:cubicBezTo>
                <a:lnTo>
                  <a:pt x="1437" y="1975"/>
                </a:lnTo>
                <a:cubicBezTo>
                  <a:pt x="1445" y="1955"/>
                  <a:pt x="1450" y="1932"/>
                  <a:pt x="1450" y="1908"/>
                </a:cubicBezTo>
                <a:lnTo>
                  <a:pt x="1450" y="1274"/>
                </a:lnTo>
                <a:lnTo>
                  <a:pt x="1450" y="1274"/>
                </a:lnTo>
                <a:cubicBezTo>
                  <a:pt x="1451" y="1273"/>
                  <a:pt x="1453" y="1272"/>
                  <a:pt x="1454" y="1270"/>
                </a:cubicBezTo>
                <a:lnTo>
                  <a:pt x="1454" y="1270"/>
                </a:lnTo>
                <a:cubicBezTo>
                  <a:pt x="1454" y="1270"/>
                  <a:pt x="1453" y="1270"/>
                  <a:pt x="1451" y="1269"/>
                </a:cubicBezTo>
                <a:lnTo>
                  <a:pt x="1451" y="1120"/>
                </a:lnTo>
                <a:lnTo>
                  <a:pt x="1451" y="1120"/>
                </a:lnTo>
                <a:lnTo>
                  <a:pt x="1451" y="903"/>
                </a:lnTo>
                <a:lnTo>
                  <a:pt x="1451" y="903"/>
                </a:lnTo>
                <a:cubicBezTo>
                  <a:pt x="1451" y="904"/>
                  <a:pt x="1451" y="905"/>
                  <a:pt x="1450" y="905"/>
                </a:cubicBezTo>
                <a:lnTo>
                  <a:pt x="1450" y="705"/>
                </a:lnTo>
                <a:lnTo>
                  <a:pt x="1598" y="446"/>
                </a:lnTo>
                <a:lnTo>
                  <a:pt x="1616" y="446"/>
                </a:lnTo>
                <a:lnTo>
                  <a:pt x="1616" y="414"/>
                </a:lnTo>
                <a:lnTo>
                  <a:pt x="1616" y="414"/>
                </a:lnTo>
                <a:lnTo>
                  <a:pt x="1616" y="414"/>
                </a:lnTo>
                <a:lnTo>
                  <a:pt x="1616" y="197"/>
                </a:lnTo>
                <a:lnTo>
                  <a:pt x="1616" y="196"/>
                </a:lnTo>
                <a:lnTo>
                  <a:pt x="1528" y="142"/>
                </a:lnTo>
                <a:lnTo>
                  <a:pt x="1528" y="0"/>
                </a:lnTo>
                <a:lnTo>
                  <a:pt x="1334" y="0"/>
                </a:lnTo>
                <a:lnTo>
                  <a:pt x="1334" y="75"/>
                </a:lnTo>
                <a:lnTo>
                  <a:pt x="1334" y="75"/>
                </a:lnTo>
                <a:cubicBezTo>
                  <a:pt x="1334" y="107"/>
                  <a:pt x="1308" y="134"/>
                  <a:pt x="1276" y="134"/>
                </a:cubicBezTo>
                <a:lnTo>
                  <a:pt x="1242" y="134"/>
                </a:lnTo>
                <a:lnTo>
                  <a:pt x="1242" y="134"/>
                </a:lnTo>
                <a:cubicBezTo>
                  <a:pt x="1209" y="134"/>
                  <a:pt x="1183" y="107"/>
                  <a:pt x="1183" y="75"/>
                </a:cubicBezTo>
                <a:lnTo>
                  <a:pt x="1183" y="0"/>
                </a:lnTo>
                <a:lnTo>
                  <a:pt x="1006" y="0"/>
                </a:lnTo>
                <a:lnTo>
                  <a:pt x="1006" y="75"/>
                </a:lnTo>
                <a:lnTo>
                  <a:pt x="1006" y="75"/>
                </a:lnTo>
                <a:cubicBezTo>
                  <a:pt x="1006" y="107"/>
                  <a:pt x="980" y="134"/>
                  <a:pt x="948" y="134"/>
                </a:cubicBezTo>
                <a:lnTo>
                  <a:pt x="947" y="134"/>
                </a:lnTo>
                <a:lnTo>
                  <a:pt x="922" y="134"/>
                </a:lnTo>
                <a:lnTo>
                  <a:pt x="922" y="134"/>
                </a:lnTo>
                <a:cubicBezTo>
                  <a:pt x="889" y="134"/>
                  <a:pt x="863" y="107"/>
                  <a:pt x="863" y="75"/>
                </a:cubicBezTo>
                <a:lnTo>
                  <a:pt x="863" y="0"/>
                </a:lnTo>
                <a:lnTo>
                  <a:pt x="661" y="0"/>
                </a:lnTo>
                <a:lnTo>
                  <a:pt x="661" y="67"/>
                </a:lnTo>
                <a:lnTo>
                  <a:pt x="661" y="67"/>
                </a:lnTo>
                <a:cubicBezTo>
                  <a:pt x="661" y="99"/>
                  <a:pt x="635" y="125"/>
                  <a:pt x="603" y="125"/>
                </a:cubicBezTo>
                <a:lnTo>
                  <a:pt x="585" y="125"/>
                </a:lnTo>
                <a:lnTo>
                  <a:pt x="585" y="125"/>
                </a:lnTo>
                <a:cubicBezTo>
                  <a:pt x="553" y="125"/>
                  <a:pt x="526" y="99"/>
                  <a:pt x="526" y="66"/>
                </a:cubicBezTo>
                <a:lnTo>
                  <a:pt x="526" y="0"/>
                </a:lnTo>
                <a:lnTo>
                  <a:pt x="343" y="0"/>
                </a:lnTo>
                <a:lnTo>
                  <a:pt x="343" y="136"/>
                </a:lnTo>
                <a:lnTo>
                  <a:pt x="281" y="197"/>
                </a:lnTo>
                <a:lnTo>
                  <a:pt x="278" y="200"/>
                </a:lnTo>
                <a:lnTo>
                  <a:pt x="278" y="414"/>
                </a:lnTo>
                <a:lnTo>
                  <a:pt x="278" y="415"/>
                </a:lnTo>
                <a:lnTo>
                  <a:pt x="278" y="446"/>
                </a:lnTo>
                <a:lnTo>
                  <a:pt x="296" y="446"/>
                </a:lnTo>
                <a:lnTo>
                  <a:pt x="442" y="701"/>
                </a:lnTo>
                <a:lnTo>
                  <a:pt x="442" y="874"/>
                </a:lnTo>
                <a:lnTo>
                  <a:pt x="442" y="1108"/>
                </a:lnTo>
                <a:lnTo>
                  <a:pt x="442" y="1269"/>
                </a:lnTo>
                <a:lnTo>
                  <a:pt x="442" y="1269"/>
                </a:lnTo>
                <a:cubicBezTo>
                  <a:pt x="441" y="1270"/>
                  <a:pt x="440" y="1270"/>
                  <a:pt x="440" y="1270"/>
                </a:cubicBezTo>
                <a:lnTo>
                  <a:pt x="440" y="1270"/>
                </a:lnTo>
                <a:cubicBezTo>
                  <a:pt x="440" y="1271"/>
                  <a:pt x="441" y="1272"/>
                  <a:pt x="442" y="1273"/>
                </a:cubicBezTo>
                <a:lnTo>
                  <a:pt x="442" y="1908"/>
                </a:lnTo>
                <a:lnTo>
                  <a:pt x="442" y="1908"/>
                </a:lnTo>
                <a:cubicBezTo>
                  <a:pt x="442" y="1933"/>
                  <a:pt x="447" y="1958"/>
                  <a:pt x="457" y="1980"/>
                </a:cubicBezTo>
                <a:lnTo>
                  <a:pt x="457" y="1980"/>
                </a:lnTo>
                <a:cubicBezTo>
                  <a:pt x="455" y="2016"/>
                  <a:pt x="488" y="2043"/>
                  <a:pt x="521" y="2062"/>
                </a:cubicBezTo>
                <a:lnTo>
                  <a:pt x="521" y="2062"/>
                </a:lnTo>
                <a:cubicBezTo>
                  <a:pt x="530" y="2069"/>
                  <a:pt x="540" y="2074"/>
                  <a:pt x="550" y="2080"/>
                </a:cubicBezTo>
                <a:lnTo>
                  <a:pt x="550" y="2080"/>
                </a:lnTo>
                <a:cubicBezTo>
                  <a:pt x="575" y="2097"/>
                  <a:pt x="594" y="2122"/>
                  <a:pt x="601" y="2152"/>
                </a:cubicBezTo>
                <a:lnTo>
                  <a:pt x="601" y="2152"/>
                </a:lnTo>
                <a:cubicBezTo>
                  <a:pt x="743" y="2673"/>
                  <a:pt x="564" y="2661"/>
                  <a:pt x="479" y="2868"/>
                </a:cubicBezTo>
                <a:lnTo>
                  <a:pt x="479" y="2868"/>
                </a:lnTo>
                <a:cubicBezTo>
                  <a:pt x="449" y="2942"/>
                  <a:pt x="426" y="3017"/>
                  <a:pt x="407" y="3094"/>
                </a:cubicBezTo>
                <a:lnTo>
                  <a:pt x="371" y="3244"/>
                </a:lnTo>
                <a:lnTo>
                  <a:pt x="371" y="3244"/>
                </a:lnTo>
                <a:cubicBezTo>
                  <a:pt x="366" y="3265"/>
                  <a:pt x="345" y="3281"/>
                  <a:pt x="321" y="3281"/>
                </a:cubicBezTo>
                <a:lnTo>
                  <a:pt x="321" y="3281"/>
                </a:lnTo>
                <a:cubicBezTo>
                  <a:pt x="227" y="3281"/>
                  <a:pt x="145" y="3344"/>
                  <a:pt x="136" y="3429"/>
                </a:cubicBezTo>
                <a:lnTo>
                  <a:pt x="136" y="3429"/>
                </a:lnTo>
                <a:cubicBezTo>
                  <a:pt x="127" y="3510"/>
                  <a:pt x="185" y="3579"/>
                  <a:pt x="263" y="3601"/>
                </a:cubicBezTo>
                <a:lnTo>
                  <a:pt x="263" y="3625"/>
                </a:lnTo>
                <a:lnTo>
                  <a:pt x="263" y="3625"/>
                </a:lnTo>
                <a:cubicBezTo>
                  <a:pt x="117" y="3627"/>
                  <a:pt x="0" y="3742"/>
                  <a:pt x="10" y="3879"/>
                </a:cubicBezTo>
                <a:lnTo>
                  <a:pt x="10" y="3879"/>
                </a:lnTo>
                <a:cubicBezTo>
                  <a:pt x="21" y="4004"/>
                  <a:pt x="140" y="4098"/>
                  <a:pt x="276" y="4098"/>
                </a:cubicBezTo>
                <a:lnTo>
                  <a:pt x="947" y="4098"/>
                </a:lnTo>
                <a:lnTo>
                  <a:pt x="1618" y="4098"/>
                </a:lnTo>
                <a:lnTo>
                  <a:pt x="1618" y="4098"/>
                </a:lnTo>
                <a:cubicBezTo>
                  <a:pt x="1754" y="4098"/>
                  <a:pt x="1874" y="4004"/>
                  <a:pt x="1884" y="3879"/>
                </a:cubicBezTo>
                <a:lnTo>
                  <a:pt x="1884" y="3879"/>
                </a:lnTo>
                <a:cubicBezTo>
                  <a:pt x="1895" y="3742"/>
                  <a:pt x="1777" y="3627"/>
                  <a:pt x="1631" y="3625"/>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9" name="TextBox 14">
            <a:extLst>
              <a:ext uri="{FF2B5EF4-FFF2-40B4-BE49-F238E27FC236}">
                <a16:creationId xmlns:a16="http://schemas.microsoft.com/office/drawing/2014/main" xmlns="" id="{FB94EC2B-5759-4DF6-9212-5E055B7455FA}"/>
              </a:ext>
            </a:extLst>
          </p:cNvPr>
          <p:cNvSpPr txBox="1"/>
          <p:nvPr/>
        </p:nvSpPr>
        <p:spPr>
          <a:xfrm>
            <a:off x="4419503" y="4981878"/>
            <a:ext cx="1680152" cy="1323439"/>
          </a:xfrm>
          <a:prstGeom prst="rect">
            <a:avLst/>
          </a:prstGeom>
          <a:noFill/>
        </p:spPr>
        <p:txBody>
          <a:bodyPr wrap="square" rtlCol="0" anchor="b" anchorCtr="0">
            <a:spAutoFit/>
          </a:bodyPr>
          <a:lstStyle/>
          <a:p>
            <a:pPr algn="ctr"/>
            <a:r>
              <a:rPr lang="en-GB" sz="2000" dirty="0">
                <a:solidFill>
                  <a:schemeClr val="tx2"/>
                </a:solidFill>
                <a:latin typeface="+mj-lt"/>
                <a:ea typeface="League Spartan" charset="0"/>
                <a:cs typeface="Poppins" pitchFamily="2" charset="77"/>
              </a:rPr>
              <a:t>Deep understanding</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of the business</a:t>
            </a:r>
          </a:p>
        </p:txBody>
      </p:sp>
      <p:sp>
        <p:nvSpPr>
          <p:cNvPr id="130" name="TextBox 27">
            <a:extLst>
              <a:ext uri="{FF2B5EF4-FFF2-40B4-BE49-F238E27FC236}">
                <a16:creationId xmlns:a16="http://schemas.microsoft.com/office/drawing/2014/main" xmlns="" id="{1455F76F-C9BF-4ED7-9A5D-0AB842FEDD21}"/>
              </a:ext>
            </a:extLst>
          </p:cNvPr>
          <p:cNvSpPr txBox="1"/>
          <p:nvPr/>
        </p:nvSpPr>
        <p:spPr>
          <a:xfrm>
            <a:off x="5938256" y="4983183"/>
            <a:ext cx="1570460" cy="1015663"/>
          </a:xfrm>
          <a:prstGeom prst="rect">
            <a:avLst/>
          </a:prstGeom>
          <a:noFill/>
        </p:spPr>
        <p:txBody>
          <a:bodyPr wrap="square" rtlCol="0" anchor="b" anchorCtr="0">
            <a:spAutoFit/>
          </a:bodyPr>
          <a:lstStyle/>
          <a:p>
            <a:pPr algn="ctr"/>
            <a:r>
              <a:rPr lang="en-GB" sz="2000" dirty="0">
                <a:solidFill>
                  <a:srgbClr val="245473"/>
                </a:solidFill>
                <a:latin typeface="+mj-lt"/>
                <a:ea typeface="League Spartan" charset="0"/>
                <a:cs typeface="Poppins" pitchFamily="2" charset="77"/>
              </a:rPr>
              <a:t>Models, frameworks</a:t>
            </a:r>
            <a:br>
              <a:rPr lang="en-GB" sz="2000" dirty="0">
                <a:solidFill>
                  <a:srgbClr val="245473"/>
                </a:solidFill>
                <a:latin typeface="+mj-lt"/>
                <a:ea typeface="League Spartan" charset="0"/>
                <a:cs typeface="Poppins" pitchFamily="2" charset="77"/>
              </a:rPr>
            </a:br>
            <a:r>
              <a:rPr lang="en-GB" sz="2000" dirty="0">
                <a:solidFill>
                  <a:srgbClr val="245473"/>
                </a:solidFill>
                <a:latin typeface="+mj-lt"/>
                <a:ea typeface="League Spartan" charset="0"/>
                <a:cs typeface="Poppins" pitchFamily="2" charset="77"/>
              </a:rPr>
              <a:t>and tools</a:t>
            </a:r>
          </a:p>
        </p:txBody>
      </p:sp>
      <p:sp>
        <p:nvSpPr>
          <p:cNvPr id="131" name="TextBox 30">
            <a:extLst>
              <a:ext uri="{FF2B5EF4-FFF2-40B4-BE49-F238E27FC236}">
                <a16:creationId xmlns:a16="http://schemas.microsoft.com/office/drawing/2014/main" xmlns="" id="{6B28795B-16ED-4DAA-A996-33F47F1C2174}"/>
              </a:ext>
            </a:extLst>
          </p:cNvPr>
          <p:cNvSpPr txBox="1"/>
          <p:nvPr/>
        </p:nvSpPr>
        <p:spPr>
          <a:xfrm>
            <a:off x="7543092" y="4981877"/>
            <a:ext cx="1586994" cy="1323439"/>
          </a:xfrm>
          <a:prstGeom prst="rect">
            <a:avLst/>
          </a:prstGeom>
          <a:noFill/>
        </p:spPr>
        <p:txBody>
          <a:bodyPr wrap="square" rtlCol="0" anchor="b" anchorCtr="0">
            <a:spAutoFit/>
          </a:bodyPr>
          <a:lstStyle/>
          <a:p>
            <a:pPr algn="ctr"/>
            <a:r>
              <a:rPr lang="en-GB" sz="2000" dirty="0">
                <a:solidFill>
                  <a:schemeClr val="tx2"/>
                </a:solidFill>
                <a:latin typeface="+mj-lt"/>
                <a:ea typeface="League Spartan" charset="0"/>
                <a:cs typeface="Poppins" pitchFamily="2" charset="77"/>
              </a:rPr>
              <a:t>Enhanced quantitative</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and statistics skills</a:t>
            </a:r>
          </a:p>
        </p:txBody>
      </p:sp>
      <p:sp>
        <p:nvSpPr>
          <p:cNvPr id="132" name="TextBox 33">
            <a:extLst>
              <a:ext uri="{FF2B5EF4-FFF2-40B4-BE49-F238E27FC236}">
                <a16:creationId xmlns:a16="http://schemas.microsoft.com/office/drawing/2014/main" xmlns="" id="{0DC7BF26-326D-42B3-AB89-B04B49D22C87}"/>
              </a:ext>
            </a:extLst>
          </p:cNvPr>
          <p:cNvSpPr txBox="1"/>
          <p:nvPr/>
        </p:nvSpPr>
        <p:spPr>
          <a:xfrm>
            <a:off x="9108734" y="5018087"/>
            <a:ext cx="1581831" cy="1015663"/>
          </a:xfrm>
          <a:prstGeom prst="rect">
            <a:avLst/>
          </a:prstGeom>
          <a:noFill/>
        </p:spPr>
        <p:txBody>
          <a:bodyPr wrap="square" rtlCol="0" anchor="b" anchorCtr="0">
            <a:spAutoFit/>
          </a:bodyPr>
          <a:lstStyle/>
          <a:p>
            <a:pPr algn="ctr"/>
            <a:r>
              <a:rPr lang="en-GB" sz="2000" dirty="0">
                <a:solidFill>
                  <a:schemeClr val="tx2"/>
                </a:solidFill>
                <a:latin typeface="+mj-lt"/>
                <a:ea typeface="League Spartan" charset="0"/>
                <a:cs typeface="Poppins" pitchFamily="2" charset="77"/>
              </a:rPr>
              <a:t>Ability to lead and</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communicate</a:t>
            </a:r>
          </a:p>
        </p:txBody>
      </p:sp>
      <p:sp>
        <p:nvSpPr>
          <p:cNvPr id="133" name="TextBox 36">
            <a:extLst>
              <a:ext uri="{FF2B5EF4-FFF2-40B4-BE49-F238E27FC236}">
                <a16:creationId xmlns:a16="http://schemas.microsoft.com/office/drawing/2014/main" xmlns="" id="{E0E46D11-687B-4BC0-B3D5-164628AE5700}"/>
              </a:ext>
            </a:extLst>
          </p:cNvPr>
          <p:cNvSpPr txBox="1"/>
          <p:nvPr/>
        </p:nvSpPr>
        <p:spPr>
          <a:xfrm>
            <a:off x="10634006" y="4963646"/>
            <a:ext cx="1680152" cy="1323439"/>
          </a:xfrm>
          <a:prstGeom prst="rect">
            <a:avLst/>
          </a:prstGeom>
          <a:noFill/>
        </p:spPr>
        <p:txBody>
          <a:bodyPr wrap="square" rtlCol="0" anchor="b" anchorCtr="0">
            <a:spAutoFit/>
          </a:bodyPr>
          <a:lstStyle/>
          <a:p>
            <a:pPr algn="ctr"/>
            <a:r>
              <a:rPr lang="en-GB" sz="2000" dirty="0">
                <a:solidFill>
                  <a:schemeClr val="tx2"/>
                </a:solidFill>
                <a:latin typeface="+mj-lt"/>
                <a:ea typeface="League Spartan" charset="0"/>
                <a:cs typeface="Poppins" pitchFamily="2" charset="77"/>
              </a:rPr>
              <a:t>Confidence to challenge &amp; </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ask difficult questions</a:t>
            </a:r>
          </a:p>
        </p:txBody>
      </p:sp>
    </p:spTree>
    <p:extLst>
      <p:ext uri="{BB962C8B-B14F-4D97-AF65-F5344CB8AC3E}">
        <p14:creationId xmlns:p14="http://schemas.microsoft.com/office/powerpoint/2010/main" val="3696710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72606" y="659015"/>
            <a:ext cx="8852375" cy="697353"/>
          </a:xfrm>
        </p:spPr>
        <p:txBody>
          <a:bodyPr>
            <a:normAutofit/>
          </a:bodyPr>
          <a:lstStyle/>
          <a:p>
            <a:r>
              <a:rPr lang="en-GB" dirty="0"/>
              <a:t>The Concept of Risk Management Maturity</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6000" y="1857483"/>
            <a:ext cx="3416080" cy="474519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A risk management mature organization is one that can cost-effectively achieve and maintain an acceptable level of risk.</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Can decision-makers make well-informed decisions, based on visibility into the risk landscape and quality of the risk analysis and reporting?</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How reliably can personnel, based on awareness of what’s expected of them, their skills and resources, and levels of motivation, execute against risk management decisions?</a:t>
            </a: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186" name="Rounded Rectangle 3">
            <a:extLst>
              <a:ext uri="{FF2B5EF4-FFF2-40B4-BE49-F238E27FC236}">
                <a16:creationId xmlns:a16="http://schemas.microsoft.com/office/drawing/2014/main" xmlns="" id="{6CC7FB15-2165-43B8-8911-CFEFC56FDFAD}"/>
              </a:ext>
            </a:extLst>
          </p:cNvPr>
          <p:cNvSpPr/>
          <p:nvPr/>
        </p:nvSpPr>
        <p:spPr>
          <a:xfrm>
            <a:off x="3761738" y="3066956"/>
            <a:ext cx="1439841" cy="58117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187" name="Rounded Rectangle 4">
            <a:extLst>
              <a:ext uri="{FF2B5EF4-FFF2-40B4-BE49-F238E27FC236}">
                <a16:creationId xmlns:a16="http://schemas.microsoft.com/office/drawing/2014/main" xmlns="" id="{F4F29635-ABC5-48A8-8E31-20E09A5CBB2D}"/>
              </a:ext>
            </a:extLst>
          </p:cNvPr>
          <p:cNvSpPr/>
          <p:nvPr/>
        </p:nvSpPr>
        <p:spPr>
          <a:xfrm>
            <a:off x="7043360" y="3066956"/>
            <a:ext cx="1439841" cy="58117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198" name="Rounded Rectangle 5">
            <a:extLst>
              <a:ext uri="{FF2B5EF4-FFF2-40B4-BE49-F238E27FC236}">
                <a16:creationId xmlns:a16="http://schemas.microsoft.com/office/drawing/2014/main" xmlns="" id="{48901271-19E8-44A9-8D75-5FF7E2A0A1E2}"/>
              </a:ext>
            </a:extLst>
          </p:cNvPr>
          <p:cNvSpPr/>
          <p:nvPr/>
        </p:nvSpPr>
        <p:spPr>
          <a:xfrm>
            <a:off x="10324981" y="3066956"/>
            <a:ext cx="1439841" cy="581176"/>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199" name="Rounded Rectangle 6">
            <a:extLst>
              <a:ext uri="{FF2B5EF4-FFF2-40B4-BE49-F238E27FC236}">
                <a16:creationId xmlns:a16="http://schemas.microsoft.com/office/drawing/2014/main" xmlns="" id="{8EF4D9F0-D931-4E85-BA0C-1F592CE0D229}"/>
              </a:ext>
            </a:extLst>
          </p:cNvPr>
          <p:cNvSpPr/>
          <p:nvPr/>
        </p:nvSpPr>
        <p:spPr>
          <a:xfrm>
            <a:off x="8684170" y="3066956"/>
            <a:ext cx="1439841" cy="58117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200" name="Rounded Rectangle 7">
            <a:extLst>
              <a:ext uri="{FF2B5EF4-FFF2-40B4-BE49-F238E27FC236}">
                <a16:creationId xmlns:a16="http://schemas.microsoft.com/office/drawing/2014/main" xmlns="" id="{078B8FB7-C6E8-45CA-94AD-1F92050EAB13}"/>
              </a:ext>
            </a:extLst>
          </p:cNvPr>
          <p:cNvSpPr/>
          <p:nvPr/>
        </p:nvSpPr>
        <p:spPr>
          <a:xfrm>
            <a:off x="5402549" y="3066956"/>
            <a:ext cx="1439841" cy="58117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useBgFill="1">
        <p:nvSpPr>
          <p:cNvPr id="211" name="Rounded Rectangle 8">
            <a:extLst>
              <a:ext uri="{FF2B5EF4-FFF2-40B4-BE49-F238E27FC236}">
                <a16:creationId xmlns:a16="http://schemas.microsoft.com/office/drawing/2014/main" xmlns="" id="{11E35319-2A01-4BE7-BC9A-225E598E1D08}"/>
              </a:ext>
            </a:extLst>
          </p:cNvPr>
          <p:cNvSpPr/>
          <p:nvPr/>
        </p:nvSpPr>
        <p:spPr>
          <a:xfrm>
            <a:off x="3761738" y="3752934"/>
            <a:ext cx="1439841" cy="2114466"/>
          </a:xfrm>
          <a:prstGeom prst="roundRect">
            <a:avLst>
              <a:gd name="adj" fmla="val 6080"/>
            </a:avLst>
          </a:prstGeom>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12" name="Rounded Rectangle 13">
            <a:extLst>
              <a:ext uri="{FF2B5EF4-FFF2-40B4-BE49-F238E27FC236}">
                <a16:creationId xmlns:a16="http://schemas.microsoft.com/office/drawing/2014/main" xmlns="" id="{5AE279A9-DB1B-4BFA-8B73-39AB54CED038}"/>
              </a:ext>
            </a:extLst>
          </p:cNvPr>
          <p:cNvSpPr/>
          <p:nvPr/>
        </p:nvSpPr>
        <p:spPr>
          <a:xfrm>
            <a:off x="5402549" y="3752934"/>
            <a:ext cx="1439841" cy="2114466"/>
          </a:xfrm>
          <a:prstGeom prst="roundRect">
            <a:avLst>
              <a:gd name="adj" fmla="val 6080"/>
            </a:avLst>
          </a:prstGeom>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13" name="Rounded Rectangle 14">
            <a:extLst>
              <a:ext uri="{FF2B5EF4-FFF2-40B4-BE49-F238E27FC236}">
                <a16:creationId xmlns:a16="http://schemas.microsoft.com/office/drawing/2014/main" xmlns="" id="{FB023C19-7ED7-4D7F-ABF1-97547ECBC07F}"/>
              </a:ext>
            </a:extLst>
          </p:cNvPr>
          <p:cNvSpPr/>
          <p:nvPr/>
        </p:nvSpPr>
        <p:spPr>
          <a:xfrm>
            <a:off x="7043360" y="3752934"/>
            <a:ext cx="1439841" cy="2114466"/>
          </a:xfrm>
          <a:prstGeom prst="roundRect">
            <a:avLst>
              <a:gd name="adj" fmla="val 6080"/>
            </a:avLst>
          </a:prstGeom>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24" name="Rounded Rectangle 15">
            <a:extLst>
              <a:ext uri="{FF2B5EF4-FFF2-40B4-BE49-F238E27FC236}">
                <a16:creationId xmlns:a16="http://schemas.microsoft.com/office/drawing/2014/main" xmlns="" id="{93BFA4B2-3A2F-4EC7-BC4C-D91A5E5A67CA}"/>
              </a:ext>
            </a:extLst>
          </p:cNvPr>
          <p:cNvSpPr/>
          <p:nvPr/>
        </p:nvSpPr>
        <p:spPr>
          <a:xfrm>
            <a:off x="8684170" y="3752934"/>
            <a:ext cx="1439841" cy="2114466"/>
          </a:xfrm>
          <a:prstGeom prst="roundRect">
            <a:avLst>
              <a:gd name="adj" fmla="val 6080"/>
            </a:avLst>
          </a:prstGeom>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25" name="Rounded Rectangle 16">
            <a:extLst>
              <a:ext uri="{FF2B5EF4-FFF2-40B4-BE49-F238E27FC236}">
                <a16:creationId xmlns:a16="http://schemas.microsoft.com/office/drawing/2014/main" xmlns="" id="{11391FA8-ADC9-4991-8207-B8F13CE27148}"/>
              </a:ext>
            </a:extLst>
          </p:cNvPr>
          <p:cNvSpPr/>
          <p:nvPr/>
        </p:nvSpPr>
        <p:spPr>
          <a:xfrm>
            <a:off x="10324981" y="3752934"/>
            <a:ext cx="1439841" cy="2114466"/>
          </a:xfrm>
          <a:prstGeom prst="roundRect">
            <a:avLst>
              <a:gd name="adj" fmla="val 6080"/>
            </a:avLst>
          </a:prstGeom>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26" name="Right Arrow 17">
            <a:extLst>
              <a:ext uri="{FF2B5EF4-FFF2-40B4-BE49-F238E27FC236}">
                <a16:creationId xmlns:a16="http://schemas.microsoft.com/office/drawing/2014/main" xmlns="" id="{B0676A22-36E8-4EFA-ADC7-8096F35C74AD}"/>
              </a:ext>
            </a:extLst>
          </p:cNvPr>
          <p:cNvSpPr/>
          <p:nvPr/>
        </p:nvSpPr>
        <p:spPr>
          <a:xfrm>
            <a:off x="3761737" y="2064726"/>
            <a:ext cx="8003084" cy="697352"/>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232" name="TextBox 18">
            <a:extLst>
              <a:ext uri="{FF2B5EF4-FFF2-40B4-BE49-F238E27FC236}">
                <a16:creationId xmlns:a16="http://schemas.microsoft.com/office/drawing/2014/main" xmlns="" id="{DB1E72D4-2923-4881-90CB-4C96045DB12F}"/>
              </a:ext>
            </a:extLst>
          </p:cNvPr>
          <p:cNvSpPr txBox="1"/>
          <p:nvPr/>
        </p:nvSpPr>
        <p:spPr>
          <a:xfrm>
            <a:off x="4138454" y="3188269"/>
            <a:ext cx="686406"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NAIVE</a:t>
            </a:r>
          </a:p>
        </p:txBody>
      </p:sp>
      <p:sp>
        <p:nvSpPr>
          <p:cNvPr id="233" name="TextBox 19">
            <a:extLst>
              <a:ext uri="{FF2B5EF4-FFF2-40B4-BE49-F238E27FC236}">
                <a16:creationId xmlns:a16="http://schemas.microsoft.com/office/drawing/2014/main" xmlns="" id="{0FCB5293-8899-43ED-8A86-3506098A3237}"/>
              </a:ext>
            </a:extLst>
          </p:cNvPr>
          <p:cNvSpPr txBox="1"/>
          <p:nvPr/>
        </p:nvSpPr>
        <p:spPr>
          <a:xfrm>
            <a:off x="5733292" y="3188269"/>
            <a:ext cx="778355"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AWARE</a:t>
            </a:r>
          </a:p>
        </p:txBody>
      </p:sp>
      <p:sp>
        <p:nvSpPr>
          <p:cNvPr id="234" name="TextBox 20">
            <a:extLst>
              <a:ext uri="{FF2B5EF4-FFF2-40B4-BE49-F238E27FC236}">
                <a16:creationId xmlns:a16="http://schemas.microsoft.com/office/drawing/2014/main" xmlns="" id="{628F8E76-D9BF-4487-8F7D-6890C46194D4}"/>
              </a:ext>
            </a:extLst>
          </p:cNvPr>
          <p:cNvSpPr txBox="1"/>
          <p:nvPr/>
        </p:nvSpPr>
        <p:spPr>
          <a:xfrm>
            <a:off x="7315882" y="3188269"/>
            <a:ext cx="894797"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DEFINED</a:t>
            </a:r>
          </a:p>
        </p:txBody>
      </p:sp>
      <p:sp>
        <p:nvSpPr>
          <p:cNvPr id="235" name="TextBox 21">
            <a:extLst>
              <a:ext uri="{FF2B5EF4-FFF2-40B4-BE49-F238E27FC236}">
                <a16:creationId xmlns:a16="http://schemas.microsoft.com/office/drawing/2014/main" xmlns="" id="{29717EB1-BBC8-4F94-8887-A49CEE8FD8F3}"/>
              </a:ext>
            </a:extLst>
          </p:cNvPr>
          <p:cNvSpPr txBox="1"/>
          <p:nvPr/>
        </p:nvSpPr>
        <p:spPr>
          <a:xfrm>
            <a:off x="8876253" y="3188269"/>
            <a:ext cx="1055675"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ANAGED</a:t>
            </a:r>
          </a:p>
        </p:txBody>
      </p:sp>
      <p:sp>
        <p:nvSpPr>
          <p:cNvPr id="236" name="TextBox 22">
            <a:extLst>
              <a:ext uri="{FF2B5EF4-FFF2-40B4-BE49-F238E27FC236}">
                <a16:creationId xmlns:a16="http://schemas.microsoft.com/office/drawing/2014/main" xmlns="" id="{E3DF6BEA-EB6D-438D-9F12-C7AEA7BD4CD7}"/>
              </a:ext>
            </a:extLst>
          </p:cNvPr>
          <p:cNvSpPr txBox="1"/>
          <p:nvPr/>
        </p:nvSpPr>
        <p:spPr>
          <a:xfrm>
            <a:off x="10576665" y="3188269"/>
            <a:ext cx="936475"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ENABLED</a:t>
            </a:r>
          </a:p>
        </p:txBody>
      </p:sp>
      <p:sp>
        <p:nvSpPr>
          <p:cNvPr id="237" name="TextBox 23">
            <a:extLst>
              <a:ext uri="{FF2B5EF4-FFF2-40B4-BE49-F238E27FC236}">
                <a16:creationId xmlns:a16="http://schemas.microsoft.com/office/drawing/2014/main" xmlns="" id="{737863FF-8C05-4A05-86DD-EA0AAA0C7841}"/>
              </a:ext>
            </a:extLst>
          </p:cNvPr>
          <p:cNvSpPr txBox="1"/>
          <p:nvPr/>
        </p:nvSpPr>
        <p:spPr>
          <a:xfrm>
            <a:off x="6828568" y="2176535"/>
            <a:ext cx="1869423" cy="523220"/>
          </a:xfrm>
          <a:prstGeom prst="rect">
            <a:avLst/>
          </a:prstGeom>
          <a:noFill/>
        </p:spPr>
        <p:txBody>
          <a:bodyPr wrap="none" rtlCol="0" anchor="ctr" anchorCtr="0">
            <a:spAutoFit/>
          </a:bodyPr>
          <a:lstStyle/>
          <a:p>
            <a:pPr algn="ctr"/>
            <a:r>
              <a:rPr lang="en-GB" sz="2800" b="1" dirty="0">
                <a:solidFill>
                  <a:srgbClr val="245473"/>
                </a:solidFill>
                <a:latin typeface="+mj-lt"/>
                <a:ea typeface="League Spartan" charset="0"/>
                <a:cs typeface="Poppins" pitchFamily="2" charset="77"/>
              </a:rPr>
              <a:t>STRUCTURE</a:t>
            </a:r>
          </a:p>
        </p:txBody>
      </p:sp>
      <p:sp>
        <p:nvSpPr>
          <p:cNvPr id="238" name="Subtitle 2">
            <a:extLst>
              <a:ext uri="{FF2B5EF4-FFF2-40B4-BE49-F238E27FC236}">
                <a16:creationId xmlns:a16="http://schemas.microsoft.com/office/drawing/2014/main" xmlns="" id="{3CFFD1FA-48C3-4E62-80B6-64B256FF861E}"/>
              </a:ext>
            </a:extLst>
          </p:cNvPr>
          <p:cNvSpPr txBox="1">
            <a:spLocks/>
          </p:cNvSpPr>
          <p:nvPr/>
        </p:nvSpPr>
        <p:spPr>
          <a:xfrm>
            <a:off x="3834609" y="3953012"/>
            <a:ext cx="1294096" cy="176344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700" dirty="0">
                <a:solidFill>
                  <a:schemeClr val="tx1"/>
                </a:solidFill>
                <a:latin typeface="+mj-lt"/>
                <a:ea typeface="Lato Light" panose="020F0502020204030203" pitchFamily="34" charset="0"/>
                <a:cs typeface="Mukta ExtraLight" panose="020B0000000000000000" pitchFamily="34" charset="77"/>
              </a:rPr>
              <a:t>Has not yet developed an approach for risk management.</a:t>
            </a:r>
          </a:p>
          <a:p>
            <a:pPr>
              <a:lnSpc>
                <a:spcPts val="1313"/>
              </a:lnSpc>
            </a:pPr>
            <a:r>
              <a:rPr lang="en-GB" sz="1700" dirty="0">
                <a:solidFill>
                  <a:schemeClr val="tx1"/>
                </a:solidFill>
                <a:latin typeface="+mj-lt"/>
                <a:ea typeface="Lato Light" panose="020F0502020204030203" pitchFamily="34" charset="0"/>
                <a:cs typeface="Mukta ExtraLight" panose="020B0000000000000000" pitchFamily="34" charset="77"/>
              </a:rPr>
              <a:t>Risks are a nuisance, would rather avoid the talk of them.</a:t>
            </a:r>
          </a:p>
        </p:txBody>
      </p:sp>
      <p:sp>
        <p:nvSpPr>
          <p:cNvPr id="239" name="Subtitle 2">
            <a:extLst>
              <a:ext uri="{FF2B5EF4-FFF2-40B4-BE49-F238E27FC236}">
                <a16:creationId xmlns:a16="http://schemas.microsoft.com/office/drawing/2014/main" xmlns="" id="{270C4476-3D32-4526-993D-F5F41437B4A2}"/>
              </a:ext>
            </a:extLst>
          </p:cNvPr>
          <p:cNvSpPr txBox="1">
            <a:spLocks/>
          </p:cNvSpPr>
          <p:nvPr/>
        </p:nvSpPr>
        <p:spPr>
          <a:xfrm>
            <a:off x="5475420" y="3953013"/>
            <a:ext cx="1294096" cy="15967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700" dirty="0">
                <a:solidFill>
                  <a:schemeClr val="tx1"/>
                </a:solidFill>
                <a:latin typeface="+mj-lt"/>
                <a:ea typeface="Lato Light" panose="020F0502020204030203" pitchFamily="34" charset="0"/>
                <a:cs typeface="Mukta ExtraLight" panose="020B0000000000000000" pitchFamily="34" charset="77"/>
              </a:rPr>
              <a:t>Scattered silo based approach to risk management.</a:t>
            </a:r>
          </a:p>
          <a:p>
            <a:pPr>
              <a:lnSpc>
                <a:spcPts val="1313"/>
              </a:lnSpc>
            </a:pPr>
            <a:r>
              <a:rPr lang="en-GB" sz="1700" dirty="0">
                <a:solidFill>
                  <a:schemeClr val="tx1"/>
                </a:solidFill>
                <a:latin typeface="+mj-lt"/>
                <a:ea typeface="Lato Light" panose="020F0502020204030203" pitchFamily="34" charset="0"/>
                <a:cs typeface="Mukta ExtraLight" panose="020B0000000000000000" pitchFamily="34" charset="77"/>
              </a:rPr>
              <a:t>Mitigate risks as they become relevant.</a:t>
            </a:r>
          </a:p>
        </p:txBody>
      </p:sp>
      <p:sp>
        <p:nvSpPr>
          <p:cNvPr id="240" name="Subtitle 2">
            <a:extLst>
              <a:ext uri="{FF2B5EF4-FFF2-40B4-BE49-F238E27FC236}">
                <a16:creationId xmlns:a16="http://schemas.microsoft.com/office/drawing/2014/main" xmlns="" id="{737C4EFB-CF42-4920-9178-580A93FAD3B9}"/>
              </a:ext>
            </a:extLst>
          </p:cNvPr>
          <p:cNvSpPr txBox="1">
            <a:spLocks/>
          </p:cNvSpPr>
          <p:nvPr/>
        </p:nvSpPr>
        <p:spPr>
          <a:xfrm>
            <a:off x="7116231" y="3953013"/>
            <a:ext cx="1294096" cy="13740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700" dirty="0">
                <a:solidFill>
                  <a:schemeClr val="tx1"/>
                </a:solidFill>
                <a:latin typeface="+mj-lt"/>
                <a:ea typeface="Lato Light" panose="020F0502020204030203" pitchFamily="34" charset="0"/>
                <a:cs typeface="Mukta ExtraLight" panose="020B0000000000000000" pitchFamily="34" charset="77"/>
              </a:rPr>
              <a:t>Risk management strategy and policies in place and communicated across the organization.</a:t>
            </a:r>
          </a:p>
        </p:txBody>
      </p:sp>
      <p:sp>
        <p:nvSpPr>
          <p:cNvPr id="241" name="Subtitle 2">
            <a:extLst>
              <a:ext uri="{FF2B5EF4-FFF2-40B4-BE49-F238E27FC236}">
                <a16:creationId xmlns:a16="http://schemas.microsoft.com/office/drawing/2014/main" xmlns="" id="{99879F36-EA4B-4FBD-8B9A-808B74DBCDB9}"/>
              </a:ext>
            </a:extLst>
          </p:cNvPr>
          <p:cNvSpPr txBox="1">
            <a:spLocks/>
          </p:cNvSpPr>
          <p:nvPr/>
        </p:nvSpPr>
        <p:spPr>
          <a:xfrm>
            <a:off x="8757042" y="3953012"/>
            <a:ext cx="1294096" cy="188090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Enterprise wide risk management approach considering risk at highest level but could be further enabled in decision making.</a:t>
            </a:r>
          </a:p>
        </p:txBody>
      </p:sp>
      <p:sp>
        <p:nvSpPr>
          <p:cNvPr id="242" name="Subtitle 2">
            <a:extLst>
              <a:ext uri="{FF2B5EF4-FFF2-40B4-BE49-F238E27FC236}">
                <a16:creationId xmlns:a16="http://schemas.microsoft.com/office/drawing/2014/main" xmlns="" id="{E773EDAB-F280-4EA5-9072-ADA9F65053F7}"/>
              </a:ext>
            </a:extLst>
          </p:cNvPr>
          <p:cNvSpPr txBox="1">
            <a:spLocks/>
          </p:cNvSpPr>
          <p:nvPr/>
        </p:nvSpPr>
        <p:spPr>
          <a:xfrm>
            <a:off x="10397853" y="3953012"/>
            <a:ext cx="1294096" cy="176344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Risks taken on an informed basis.</a:t>
            </a:r>
          </a:p>
          <a:p>
            <a:pP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Risk management is used to help manage multiple aspects of the institution.</a:t>
            </a:r>
          </a:p>
        </p:txBody>
      </p:sp>
    </p:spTree>
    <p:extLst>
      <p:ext uri="{BB962C8B-B14F-4D97-AF65-F5344CB8AC3E}">
        <p14:creationId xmlns:p14="http://schemas.microsoft.com/office/powerpoint/2010/main" val="28558228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917334" y="365952"/>
            <a:ext cx="8852375" cy="697353"/>
          </a:xfrm>
        </p:spPr>
        <p:txBody>
          <a:bodyPr>
            <a:normAutofit fontScale="85000" lnSpcReduction="10000"/>
          </a:bodyPr>
          <a:lstStyle/>
          <a:p>
            <a:r>
              <a:rPr lang="en-GB" dirty="0"/>
              <a:t>Where to start? Risk Management Maturity Mindse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2420" y="1885145"/>
            <a:ext cx="3562710" cy="53453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Risk as a senior management responsibility not a specialist function. The Risk Management Mindsets needs: </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Top level buy-in</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Zero tolerance</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Mindset Change: Managing risk and compliance needs to be seen as ‘everyone’s job’</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Cultural Change: ‘no guilt’ culture to encourage disclosure</a:t>
            </a:r>
          </a:p>
          <a:p>
            <a:pPr marL="285750" indent="-285750" algn="l">
              <a:lnSpc>
                <a:spcPct val="100000"/>
              </a:lnSpc>
              <a:spcBef>
                <a:spcPts val="600"/>
              </a:spcBef>
              <a:buFont typeface="Wingdings" panose="05000000000000000000" pitchFamily="2" charset="2"/>
              <a:buChar char="à"/>
            </a:pPr>
            <a:r>
              <a:rPr lang="en-GB" sz="1800" b="1" dirty="0">
                <a:solidFill>
                  <a:srgbClr val="EC2179"/>
                </a:solidFill>
                <a:latin typeface="+mj-lt"/>
                <a:ea typeface="Open Sans Light" panose="020B0306030504020204" pitchFamily="34" charset="0"/>
                <a:cs typeface="Open Sans Light" panose="020B0306030504020204" pitchFamily="34" charset="0"/>
              </a:rPr>
              <a:t>Start with a Risk Management Roundtable with all the functions and divisions of your company</a:t>
            </a: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26" name="Freeform 80">
            <a:extLst>
              <a:ext uri="{FF2B5EF4-FFF2-40B4-BE49-F238E27FC236}">
                <a16:creationId xmlns:a16="http://schemas.microsoft.com/office/drawing/2014/main" xmlns="" id="{AF6F1ED8-1E53-43F3-BA46-3E08896487EA}"/>
              </a:ext>
            </a:extLst>
          </p:cNvPr>
          <p:cNvSpPr/>
          <p:nvPr/>
        </p:nvSpPr>
        <p:spPr>
          <a:xfrm rot="5400000">
            <a:off x="7817507" y="2593395"/>
            <a:ext cx="2282442" cy="1820586"/>
          </a:xfrm>
          <a:custGeom>
            <a:avLst/>
            <a:gdLst>
              <a:gd name="connsiteX0" fmla="*/ 4443713 w 6084927"/>
              <a:gd name="connsiteY0" fmla="*/ 4079819 h 4853633"/>
              <a:gd name="connsiteX1" fmla="*/ 4443713 w 6084927"/>
              <a:gd name="connsiteY1" fmla="*/ 0 h 4853633"/>
              <a:gd name="connsiteX2" fmla="*/ 6084927 w 6084927"/>
              <a:gd name="connsiteY2" fmla="*/ 2039910 h 4853633"/>
              <a:gd name="connsiteX3" fmla="*/ 0 w 6084927"/>
              <a:gd name="connsiteY3" fmla="*/ 4816737 h 4853633"/>
              <a:gd name="connsiteX4" fmla="*/ 8488 w 6084927"/>
              <a:gd name="connsiteY4" fmla="*/ 4702750 h 4853633"/>
              <a:gd name="connsiteX5" fmla="*/ 4338710 w 6084927"/>
              <a:gd name="connsiteY5" fmla="*/ 574816 h 4853633"/>
              <a:gd name="connsiteX6" fmla="*/ 4443712 w 6084927"/>
              <a:gd name="connsiteY6" fmla="*/ 572161 h 4853633"/>
              <a:gd name="connsiteX7" fmla="*/ 4443712 w 6084927"/>
              <a:gd name="connsiteY7" fmla="*/ 3513727 h 4853633"/>
              <a:gd name="connsiteX8" fmla="*/ 4406101 w 6084927"/>
              <a:gd name="connsiteY8" fmla="*/ 3515627 h 4853633"/>
              <a:gd name="connsiteX9" fmla="*/ 2954035 w 6084927"/>
              <a:gd name="connsiteY9" fmla="*/ 4845028 h 4853633"/>
              <a:gd name="connsiteX10" fmla="*/ 2952776 w 6084927"/>
              <a:gd name="connsiteY10" fmla="*/ 4853633 h 4853633"/>
              <a:gd name="connsiteX11" fmla="*/ 1453459 w 6084927"/>
              <a:gd name="connsiteY11" fmla="*/ 3647353 h 485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84927" h="4853633">
                <a:moveTo>
                  <a:pt x="4443713" y="4079819"/>
                </a:moveTo>
                <a:lnTo>
                  <a:pt x="4443713" y="0"/>
                </a:lnTo>
                <a:lnTo>
                  <a:pt x="6084927" y="2039910"/>
                </a:lnTo>
                <a:close/>
                <a:moveTo>
                  <a:pt x="0" y="4816737"/>
                </a:moveTo>
                <a:lnTo>
                  <a:pt x="8488" y="4702750"/>
                </a:lnTo>
                <a:cubicBezTo>
                  <a:pt x="229182" y="2459185"/>
                  <a:pt x="2065764" y="690032"/>
                  <a:pt x="4338710" y="574816"/>
                </a:cubicBezTo>
                <a:lnTo>
                  <a:pt x="4443712" y="572161"/>
                </a:lnTo>
                <a:lnTo>
                  <a:pt x="4443712" y="3513727"/>
                </a:lnTo>
                <a:lnTo>
                  <a:pt x="4406101" y="3515627"/>
                </a:lnTo>
                <a:cubicBezTo>
                  <a:pt x="3677933" y="3589575"/>
                  <a:pt x="3089712" y="4136909"/>
                  <a:pt x="2954035" y="4845028"/>
                </a:cubicBezTo>
                <a:lnTo>
                  <a:pt x="2952776" y="4853633"/>
                </a:lnTo>
                <a:lnTo>
                  <a:pt x="1453459" y="36473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27" name="Freeform 77">
            <a:extLst>
              <a:ext uri="{FF2B5EF4-FFF2-40B4-BE49-F238E27FC236}">
                <a16:creationId xmlns:a16="http://schemas.microsoft.com/office/drawing/2014/main" xmlns="" id="{FC13A8D8-4441-4961-8CE4-58CAC4208394}"/>
              </a:ext>
            </a:extLst>
          </p:cNvPr>
          <p:cNvSpPr/>
          <p:nvPr/>
        </p:nvSpPr>
        <p:spPr>
          <a:xfrm rot="5400000">
            <a:off x="6449124" y="1911747"/>
            <a:ext cx="1821040" cy="2282529"/>
          </a:xfrm>
          <a:custGeom>
            <a:avLst/>
            <a:gdLst>
              <a:gd name="connsiteX0" fmla="*/ 576010 w 4854841"/>
              <a:gd name="connsiteY0" fmla="*/ 1641215 h 6085158"/>
              <a:gd name="connsiteX1" fmla="*/ 3517577 w 4854841"/>
              <a:gd name="connsiteY1" fmla="*/ 1641215 h 6085158"/>
              <a:gd name="connsiteX2" fmla="*/ 3519477 w 4854841"/>
              <a:gd name="connsiteY2" fmla="*/ 1678825 h 6085158"/>
              <a:gd name="connsiteX3" fmla="*/ 4848877 w 4854841"/>
              <a:gd name="connsiteY3" fmla="*/ 3130891 h 6085158"/>
              <a:gd name="connsiteX4" fmla="*/ 4854841 w 4854841"/>
              <a:gd name="connsiteY4" fmla="*/ 3131763 h 6085158"/>
              <a:gd name="connsiteX5" fmla="*/ 3651200 w 4854841"/>
              <a:gd name="connsiteY5" fmla="*/ 4627801 h 6085158"/>
              <a:gd name="connsiteX6" fmla="*/ 4823720 w 4854841"/>
              <a:gd name="connsiteY6" fmla="*/ 6085158 h 6085158"/>
              <a:gd name="connsiteX7" fmla="*/ 4706599 w 4854841"/>
              <a:gd name="connsiteY7" fmla="*/ 6076438 h 6085158"/>
              <a:gd name="connsiteX8" fmla="*/ 578665 w 4854841"/>
              <a:gd name="connsiteY8" fmla="*/ 1746216 h 6085158"/>
              <a:gd name="connsiteX9" fmla="*/ 0 w 4854841"/>
              <a:gd name="connsiteY9" fmla="*/ 1641214 h 6085158"/>
              <a:gd name="connsiteX10" fmla="*/ 2039910 w 4854841"/>
              <a:gd name="connsiteY10" fmla="*/ 0 h 6085158"/>
              <a:gd name="connsiteX11" fmla="*/ 4079818 w 4854841"/>
              <a:gd name="connsiteY11" fmla="*/ 1641214 h 608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841" h="6085158">
                <a:moveTo>
                  <a:pt x="576010" y="1641215"/>
                </a:moveTo>
                <a:lnTo>
                  <a:pt x="3517577" y="1641215"/>
                </a:lnTo>
                <a:lnTo>
                  <a:pt x="3519477" y="1678825"/>
                </a:lnTo>
                <a:cubicBezTo>
                  <a:pt x="3593425" y="2406993"/>
                  <a:pt x="4140758" y="2995213"/>
                  <a:pt x="4848877" y="3130891"/>
                </a:cubicBezTo>
                <a:lnTo>
                  <a:pt x="4854841" y="3131763"/>
                </a:lnTo>
                <a:lnTo>
                  <a:pt x="3651200" y="4627801"/>
                </a:lnTo>
                <a:lnTo>
                  <a:pt x="4823720" y="6085158"/>
                </a:lnTo>
                <a:lnTo>
                  <a:pt x="4706599" y="6076438"/>
                </a:lnTo>
                <a:cubicBezTo>
                  <a:pt x="2463034" y="5855743"/>
                  <a:pt x="693881" y="4019161"/>
                  <a:pt x="578665" y="1746216"/>
                </a:cubicBezTo>
                <a:close/>
                <a:moveTo>
                  <a:pt x="0" y="1641214"/>
                </a:moveTo>
                <a:lnTo>
                  <a:pt x="2039910" y="0"/>
                </a:lnTo>
                <a:lnTo>
                  <a:pt x="4079818" y="164121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28" name="Freeform 78">
            <a:extLst>
              <a:ext uri="{FF2B5EF4-FFF2-40B4-BE49-F238E27FC236}">
                <a16:creationId xmlns:a16="http://schemas.microsoft.com/office/drawing/2014/main" xmlns="" id="{FB9A7CDF-E754-4520-9FB3-51C304B348C9}"/>
              </a:ext>
            </a:extLst>
          </p:cNvPr>
          <p:cNvSpPr/>
          <p:nvPr/>
        </p:nvSpPr>
        <p:spPr>
          <a:xfrm rot="5400000">
            <a:off x="5769040" y="3742874"/>
            <a:ext cx="2282647" cy="1820995"/>
          </a:xfrm>
          <a:custGeom>
            <a:avLst/>
            <a:gdLst>
              <a:gd name="connsiteX0" fmla="*/ 1641214 w 6085474"/>
              <a:gd name="connsiteY0" fmla="*/ 4282378 h 4854721"/>
              <a:gd name="connsiteX1" fmla="*/ 1641215 w 6085474"/>
              <a:gd name="connsiteY1" fmla="*/ 1340812 h 4854721"/>
              <a:gd name="connsiteX2" fmla="*/ 1678826 w 6085474"/>
              <a:gd name="connsiteY2" fmla="*/ 1338912 h 4854721"/>
              <a:gd name="connsiteX3" fmla="*/ 3130892 w 6085474"/>
              <a:gd name="connsiteY3" fmla="*/ 9511 h 4854721"/>
              <a:gd name="connsiteX4" fmla="*/ 3132283 w 6085474"/>
              <a:gd name="connsiteY4" fmla="*/ 0 h 4854721"/>
              <a:gd name="connsiteX5" fmla="*/ 4627802 w 6085474"/>
              <a:gd name="connsiteY5" fmla="*/ 1203224 h 4854721"/>
              <a:gd name="connsiteX6" fmla="*/ 6085474 w 6085474"/>
              <a:gd name="connsiteY6" fmla="*/ 30450 h 4854721"/>
              <a:gd name="connsiteX7" fmla="*/ 6076439 w 6085474"/>
              <a:gd name="connsiteY7" fmla="*/ 151789 h 4854721"/>
              <a:gd name="connsiteX8" fmla="*/ 1746217 w 6085474"/>
              <a:gd name="connsiteY8" fmla="*/ 4279723 h 4854721"/>
              <a:gd name="connsiteX9" fmla="*/ 0 w 6085474"/>
              <a:gd name="connsiteY9" fmla="*/ 2814812 h 4854721"/>
              <a:gd name="connsiteX10" fmla="*/ 1641214 w 6085474"/>
              <a:gd name="connsiteY10" fmla="*/ 774903 h 4854721"/>
              <a:gd name="connsiteX11" fmla="*/ 1641214 w 6085474"/>
              <a:gd name="connsiteY11" fmla="*/ 4282378 h 4854721"/>
              <a:gd name="connsiteX12" fmla="*/ 1641214 w 6085474"/>
              <a:gd name="connsiteY12" fmla="*/ 4854721 h 485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5474" h="4854721">
                <a:moveTo>
                  <a:pt x="1641214" y="4282378"/>
                </a:moveTo>
                <a:lnTo>
                  <a:pt x="1641215" y="1340812"/>
                </a:lnTo>
                <a:lnTo>
                  <a:pt x="1678826" y="1338912"/>
                </a:lnTo>
                <a:cubicBezTo>
                  <a:pt x="2406993" y="1264963"/>
                  <a:pt x="2995214" y="717630"/>
                  <a:pt x="3130892" y="9511"/>
                </a:cubicBezTo>
                <a:lnTo>
                  <a:pt x="3132283" y="0"/>
                </a:lnTo>
                <a:lnTo>
                  <a:pt x="4627802" y="1203224"/>
                </a:lnTo>
                <a:lnTo>
                  <a:pt x="6085474" y="30450"/>
                </a:lnTo>
                <a:lnTo>
                  <a:pt x="6076439" y="151789"/>
                </a:lnTo>
                <a:cubicBezTo>
                  <a:pt x="5855745" y="2395354"/>
                  <a:pt x="4019161" y="4164506"/>
                  <a:pt x="1746217" y="4279723"/>
                </a:cubicBezTo>
                <a:close/>
                <a:moveTo>
                  <a:pt x="0" y="2814812"/>
                </a:moveTo>
                <a:lnTo>
                  <a:pt x="1641214" y="774903"/>
                </a:lnTo>
                <a:lnTo>
                  <a:pt x="1641214" y="4282378"/>
                </a:lnTo>
                <a:lnTo>
                  <a:pt x="1641214" y="485472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29" name="Freeform 79">
            <a:extLst>
              <a:ext uri="{FF2B5EF4-FFF2-40B4-BE49-F238E27FC236}">
                <a16:creationId xmlns:a16="http://schemas.microsoft.com/office/drawing/2014/main" xmlns="" id="{FB4230B4-945E-420C-A797-970FABA658D7}"/>
              </a:ext>
            </a:extLst>
          </p:cNvPr>
          <p:cNvSpPr/>
          <p:nvPr/>
        </p:nvSpPr>
        <p:spPr>
          <a:xfrm rot="5400000">
            <a:off x="7600252" y="3962761"/>
            <a:ext cx="1819613" cy="2281047"/>
          </a:xfrm>
          <a:custGeom>
            <a:avLst/>
            <a:gdLst>
              <a:gd name="connsiteX0" fmla="*/ 0 w 4851038"/>
              <a:gd name="connsiteY0" fmla="*/ 2953426 h 6081207"/>
              <a:gd name="connsiteX1" fmla="*/ 1203508 w 4851038"/>
              <a:gd name="connsiteY1" fmla="*/ 1457554 h 6081207"/>
              <a:gd name="connsiteX2" fmla="*/ 30830 w 4851038"/>
              <a:gd name="connsiteY2" fmla="*/ 0 h 6081207"/>
              <a:gd name="connsiteX3" fmla="*/ 148106 w 4851038"/>
              <a:gd name="connsiteY3" fmla="*/ 8732 h 6081207"/>
              <a:gd name="connsiteX4" fmla="*/ 4276040 w 4851038"/>
              <a:gd name="connsiteY4" fmla="*/ 4338954 h 6081207"/>
              <a:gd name="connsiteX5" fmla="*/ 4278596 w 4851038"/>
              <a:gd name="connsiteY5" fmla="*/ 4439993 h 6081207"/>
              <a:gd name="connsiteX6" fmla="*/ 4851038 w 4851038"/>
              <a:gd name="connsiteY6" fmla="*/ 4439993 h 6081207"/>
              <a:gd name="connsiteX7" fmla="*/ 2811130 w 4851038"/>
              <a:gd name="connsiteY7" fmla="*/ 6081207 h 6081207"/>
              <a:gd name="connsiteX8" fmla="*/ 771222 w 4851038"/>
              <a:gd name="connsiteY8" fmla="*/ 4439993 h 6081207"/>
              <a:gd name="connsiteX9" fmla="*/ 1336928 w 4851038"/>
              <a:gd name="connsiteY9" fmla="*/ 4439993 h 6081207"/>
              <a:gd name="connsiteX10" fmla="*/ 1335228 w 4851038"/>
              <a:gd name="connsiteY10" fmla="*/ 4406346 h 6081207"/>
              <a:gd name="connsiteX11" fmla="*/ 5829 w 4851038"/>
              <a:gd name="connsiteY11" fmla="*/ 2954279 h 608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1038" h="6081207">
                <a:moveTo>
                  <a:pt x="0" y="2953426"/>
                </a:moveTo>
                <a:lnTo>
                  <a:pt x="1203508" y="1457554"/>
                </a:lnTo>
                <a:lnTo>
                  <a:pt x="30830" y="0"/>
                </a:lnTo>
                <a:lnTo>
                  <a:pt x="148106" y="8732"/>
                </a:lnTo>
                <a:cubicBezTo>
                  <a:pt x="2391672" y="229427"/>
                  <a:pt x="4160825" y="2066009"/>
                  <a:pt x="4276040" y="4338954"/>
                </a:cubicBezTo>
                <a:lnTo>
                  <a:pt x="4278596" y="4439993"/>
                </a:lnTo>
                <a:lnTo>
                  <a:pt x="4851038" y="4439993"/>
                </a:lnTo>
                <a:lnTo>
                  <a:pt x="2811130" y="6081207"/>
                </a:lnTo>
                <a:lnTo>
                  <a:pt x="771222" y="4439993"/>
                </a:lnTo>
                <a:lnTo>
                  <a:pt x="1336928" y="4439993"/>
                </a:lnTo>
                <a:lnTo>
                  <a:pt x="1335228" y="4406346"/>
                </a:lnTo>
                <a:cubicBezTo>
                  <a:pt x="1261280" y="3678178"/>
                  <a:pt x="713947" y="3089956"/>
                  <a:pt x="5829" y="295427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30" name="TextBox 36">
            <a:extLst>
              <a:ext uri="{FF2B5EF4-FFF2-40B4-BE49-F238E27FC236}">
                <a16:creationId xmlns:a16="http://schemas.microsoft.com/office/drawing/2014/main" xmlns="" id="{E43BDE69-E04C-4E13-84CD-9A0A786707C4}"/>
              </a:ext>
            </a:extLst>
          </p:cNvPr>
          <p:cNvSpPr txBox="1"/>
          <p:nvPr/>
        </p:nvSpPr>
        <p:spPr>
          <a:xfrm>
            <a:off x="7688689" y="2584492"/>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1</a:t>
            </a:r>
          </a:p>
        </p:txBody>
      </p:sp>
      <p:sp>
        <p:nvSpPr>
          <p:cNvPr id="31" name="TextBox 37">
            <a:extLst>
              <a:ext uri="{FF2B5EF4-FFF2-40B4-BE49-F238E27FC236}">
                <a16:creationId xmlns:a16="http://schemas.microsoft.com/office/drawing/2014/main" xmlns="" id="{EE27E87A-48B7-4429-BB48-784DC2A9716B}"/>
              </a:ext>
            </a:extLst>
          </p:cNvPr>
          <p:cNvSpPr txBox="1"/>
          <p:nvPr/>
        </p:nvSpPr>
        <p:spPr>
          <a:xfrm>
            <a:off x="7538631" y="4924761"/>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3</a:t>
            </a:r>
          </a:p>
        </p:txBody>
      </p:sp>
      <p:sp>
        <p:nvSpPr>
          <p:cNvPr id="32" name="TextBox 38">
            <a:extLst>
              <a:ext uri="{FF2B5EF4-FFF2-40B4-BE49-F238E27FC236}">
                <a16:creationId xmlns:a16="http://schemas.microsoft.com/office/drawing/2014/main" xmlns="" id="{AC46977B-9361-4AAC-BF97-B20042AF4844}"/>
              </a:ext>
            </a:extLst>
          </p:cNvPr>
          <p:cNvSpPr txBox="1"/>
          <p:nvPr/>
        </p:nvSpPr>
        <p:spPr>
          <a:xfrm>
            <a:off x="8782295" y="3765298"/>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2</a:t>
            </a:r>
          </a:p>
        </p:txBody>
      </p:sp>
      <p:sp>
        <p:nvSpPr>
          <p:cNvPr id="33" name="TextBox 39">
            <a:extLst>
              <a:ext uri="{FF2B5EF4-FFF2-40B4-BE49-F238E27FC236}">
                <a16:creationId xmlns:a16="http://schemas.microsoft.com/office/drawing/2014/main" xmlns="" id="{FBD11B55-845E-4306-ADEF-691A333F5774}"/>
              </a:ext>
            </a:extLst>
          </p:cNvPr>
          <p:cNvSpPr txBox="1"/>
          <p:nvPr/>
        </p:nvSpPr>
        <p:spPr>
          <a:xfrm>
            <a:off x="6443470" y="3687177"/>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4</a:t>
            </a:r>
          </a:p>
        </p:txBody>
      </p:sp>
      <p:sp>
        <p:nvSpPr>
          <p:cNvPr id="34" name="TextBox 40">
            <a:extLst>
              <a:ext uri="{FF2B5EF4-FFF2-40B4-BE49-F238E27FC236}">
                <a16:creationId xmlns:a16="http://schemas.microsoft.com/office/drawing/2014/main" xmlns="" id="{553F1EDB-A01D-49EF-81C0-FE52C5B2122F}"/>
              </a:ext>
            </a:extLst>
          </p:cNvPr>
          <p:cNvSpPr txBox="1"/>
          <p:nvPr/>
        </p:nvSpPr>
        <p:spPr>
          <a:xfrm>
            <a:off x="9542225" y="1748267"/>
            <a:ext cx="2360133" cy="400110"/>
          </a:xfrm>
          <a:prstGeom prst="rect">
            <a:avLst/>
          </a:prstGeom>
          <a:noFill/>
        </p:spPr>
        <p:txBody>
          <a:bodyPr wrap="none" rtlCol="0" anchor="b" anchorCtr="0">
            <a:spAutoFit/>
          </a:bodyPr>
          <a:lstStyle/>
          <a:p>
            <a:r>
              <a:rPr lang="en-GB" sz="2000" b="1" dirty="0">
                <a:solidFill>
                  <a:schemeClr val="tx2"/>
                </a:solidFill>
                <a:latin typeface="+mj-lt"/>
                <a:ea typeface="League Spartan" charset="0"/>
                <a:cs typeface="Poppins" pitchFamily="2" charset="77"/>
              </a:rPr>
              <a:t>Change Management</a:t>
            </a:r>
          </a:p>
        </p:txBody>
      </p:sp>
      <p:sp>
        <p:nvSpPr>
          <p:cNvPr id="35" name="Subtitle 2">
            <a:extLst>
              <a:ext uri="{FF2B5EF4-FFF2-40B4-BE49-F238E27FC236}">
                <a16:creationId xmlns:a16="http://schemas.microsoft.com/office/drawing/2014/main" xmlns="" id="{B8F3A6FC-BAB9-4371-B471-62F675339D65}"/>
              </a:ext>
            </a:extLst>
          </p:cNvPr>
          <p:cNvSpPr txBox="1">
            <a:spLocks/>
          </p:cNvSpPr>
          <p:nvPr/>
        </p:nvSpPr>
        <p:spPr>
          <a:xfrm>
            <a:off x="9707147" y="2134641"/>
            <a:ext cx="2452433" cy="188129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Significant effort will be required to overcome organizational inertia and change a mindset   to a risk-reward culture</a:t>
            </a:r>
          </a:p>
        </p:txBody>
      </p:sp>
      <p:sp>
        <p:nvSpPr>
          <p:cNvPr id="36" name="TextBox 44">
            <a:extLst>
              <a:ext uri="{FF2B5EF4-FFF2-40B4-BE49-F238E27FC236}">
                <a16:creationId xmlns:a16="http://schemas.microsoft.com/office/drawing/2014/main" xmlns="" id="{391062F7-2DDA-4A01-B2F7-37C469DB5492}"/>
              </a:ext>
            </a:extLst>
          </p:cNvPr>
          <p:cNvSpPr txBox="1"/>
          <p:nvPr/>
        </p:nvSpPr>
        <p:spPr>
          <a:xfrm>
            <a:off x="9810616" y="4392921"/>
            <a:ext cx="1522661" cy="400110"/>
          </a:xfrm>
          <a:prstGeom prst="rect">
            <a:avLst/>
          </a:prstGeom>
          <a:noFill/>
        </p:spPr>
        <p:txBody>
          <a:bodyPr wrap="none" rtlCol="0" anchor="b" anchorCtr="0">
            <a:spAutoFit/>
          </a:bodyPr>
          <a:lstStyle/>
          <a:p>
            <a:r>
              <a:rPr lang="en-GB" sz="2000" b="1" dirty="0">
                <a:solidFill>
                  <a:srgbClr val="FFC000"/>
                </a:solidFill>
                <a:latin typeface="+mj-lt"/>
                <a:ea typeface="League Spartan" charset="0"/>
                <a:cs typeface="Poppins" pitchFamily="2" charset="77"/>
              </a:rPr>
              <a:t>Sustainability</a:t>
            </a:r>
          </a:p>
        </p:txBody>
      </p:sp>
      <p:sp>
        <p:nvSpPr>
          <p:cNvPr id="37" name="Subtitle 2">
            <a:extLst>
              <a:ext uri="{FF2B5EF4-FFF2-40B4-BE49-F238E27FC236}">
                <a16:creationId xmlns:a16="http://schemas.microsoft.com/office/drawing/2014/main" xmlns="" id="{41F51F87-D83B-43DB-B174-C4AFA77681D6}"/>
              </a:ext>
            </a:extLst>
          </p:cNvPr>
          <p:cNvSpPr txBox="1">
            <a:spLocks/>
          </p:cNvSpPr>
          <p:nvPr/>
        </p:nvSpPr>
        <p:spPr>
          <a:xfrm>
            <a:off x="9593625" y="4743393"/>
            <a:ext cx="2452432" cy="120418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95000"/>
              </a:lnSpc>
              <a:spcBef>
                <a:spcPct val="30000"/>
              </a:spcBef>
            </a:pPr>
            <a:r>
              <a:rPr lang="en-GB" altLang="de-DE" sz="2000" dirty="0">
                <a:solidFill>
                  <a:schemeClr val="tx1"/>
                </a:solidFill>
                <a:latin typeface="+mj-lt"/>
                <a:cs typeface="Arial" panose="020B0604020202020204" pitchFamily="34" charset="0"/>
              </a:rPr>
              <a:t>To sustain progress and momentum, maintain program team continuity.</a:t>
            </a:r>
          </a:p>
        </p:txBody>
      </p:sp>
      <p:sp>
        <p:nvSpPr>
          <p:cNvPr id="38" name="TextBox 47">
            <a:extLst>
              <a:ext uri="{FF2B5EF4-FFF2-40B4-BE49-F238E27FC236}">
                <a16:creationId xmlns:a16="http://schemas.microsoft.com/office/drawing/2014/main" xmlns="" id="{2BCD0435-3F5E-4A75-B7B1-48EAC1EBC46C}"/>
              </a:ext>
            </a:extLst>
          </p:cNvPr>
          <p:cNvSpPr txBox="1"/>
          <p:nvPr/>
        </p:nvSpPr>
        <p:spPr>
          <a:xfrm>
            <a:off x="3756673" y="1855511"/>
            <a:ext cx="1420390" cy="400110"/>
          </a:xfrm>
          <a:prstGeom prst="rect">
            <a:avLst/>
          </a:prstGeom>
          <a:noFill/>
        </p:spPr>
        <p:txBody>
          <a:bodyPr wrap="none" rtlCol="0" anchor="b" anchorCtr="0">
            <a:spAutoFit/>
          </a:bodyPr>
          <a:lstStyle/>
          <a:p>
            <a:r>
              <a:rPr lang="en-GB" sz="2000" b="1" dirty="0">
                <a:solidFill>
                  <a:schemeClr val="accent2">
                    <a:lumMod val="75000"/>
                  </a:schemeClr>
                </a:solidFill>
                <a:latin typeface="+mj-lt"/>
                <a:ea typeface="League Spartan" charset="0"/>
                <a:cs typeface="Poppins" pitchFamily="2" charset="77"/>
              </a:rPr>
              <a:t>Sponsorship</a:t>
            </a:r>
          </a:p>
        </p:txBody>
      </p:sp>
      <p:sp>
        <p:nvSpPr>
          <p:cNvPr id="39" name="Subtitle 2">
            <a:extLst>
              <a:ext uri="{FF2B5EF4-FFF2-40B4-BE49-F238E27FC236}">
                <a16:creationId xmlns:a16="http://schemas.microsoft.com/office/drawing/2014/main" xmlns="" id="{0F29F71D-AA97-4D97-A0B6-0B255914A5C1}"/>
              </a:ext>
            </a:extLst>
          </p:cNvPr>
          <p:cNvSpPr txBox="1">
            <a:spLocks/>
          </p:cNvSpPr>
          <p:nvPr/>
        </p:nvSpPr>
        <p:spPr>
          <a:xfrm>
            <a:off x="3831880" y="2158715"/>
            <a:ext cx="2901841" cy="157351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Successful Risk Management implementations require senior management &amp; Board support.</a:t>
            </a:r>
          </a:p>
        </p:txBody>
      </p:sp>
      <p:sp>
        <p:nvSpPr>
          <p:cNvPr id="40" name="TextBox 50">
            <a:extLst>
              <a:ext uri="{FF2B5EF4-FFF2-40B4-BE49-F238E27FC236}">
                <a16:creationId xmlns:a16="http://schemas.microsoft.com/office/drawing/2014/main" xmlns="" id="{E001D631-1042-4B89-BECB-C1D116F8070A}"/>
              </a:ext>
            </a:extLst>
          </p:cNvPr>
          <p:cNvSpPr txBox="1"/>
          <p:nvPr/>
        </p:nvSpPr>
        <p:spPr>
          <a:xfrm>
            <a:off x="3739063" y="4011519"/>
            <a:ext cx="2314416" cy="400110"/>
          </a:xfrm>
          <a:prstGeom prst="rect">
            <a:avLst/>
          </a:prstGeom>
          <a:noFill/>
        </p:spPr>
        <p:txBody>
          <a:bodyPr wrap="none" rtlCol="0" anchor="b" anchorCtr="0">
            <a:spAutoFit/>
          </a:bodyPr>
          <a:lstStyle/>
          <a:p>
            <a:r>
              <a:rPr lang="en-GB" sz="2000" b="1" dirty="0">
                <a:solidFill>
                  <a:srgbClr val="0070C0"/>
                </a:solidFill>
                <a:latin typeface="+mj-lt"/>
                <a:ea typeface="League Spartan" charset="0"/>
                <a:cs typeface="Poppins" pitchFamily="2" charset="77"/>
              </a:rPr>
              <a:t>Project Management</a:t>
            </a:r>
          </a:p>
        </p:txBody>
      </p:sp>
      <p:sp>
        <p:nvSpPr>
          <p:cNvPr id="41" name="Subtitle 2">
            <a:extLst>
              <a:ext uri="{FF2B5EF4-FFF2-40B4-BE49-F238E27FC236}">
                <a16:creationId xmlns:a16="http://schemas.microsoft.com/office/drawing/2014/main" xmlns="" id="{16990A0D-E275-42C7-8F8A-0E6607AD45CA}"/>
              </a:ext>
            </a:extLst>
          </p:cNvPr>
          <p:cNvSpPr txBox="1">
            <a:spLocks/>
          </p:cNvSpPr>
          <p:nvPr/>
        </p:nvSpPr>
        <p:spPr>
          <a:xfrm>
            <a:off x="3822704" y="4497786"/>
            <a:ext cx="2599258" cy="163507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000" dirty="0">
                <a:solidFill>
                  <a:schemeClr val="tx1"/>
                </a:solidFill>
                <a:latin typeface="+mj-lt"/>
                <a:ea typeface="Lato Light" panose="020F0502020204030203" pitchFamily="34" charset="0"/>
                <a:cs typeface="Mukta ExtraLight" panose="020B0000000000000000" pitchFamily="34" charset="77"/>
              </a:rPr>
              <a:t>Do not underestimate launch complexities or cultural challenges. </a:t>
            </a:r>
          </a:p>
          <a:p>
            <a:pPr marL="171450" indent="-171450" algn="l">
              <a:lnSpc>
                <a:spcPct val="100000"/>
              </a:lnSpc>
              <a:buFont typeface="Arial" panose="020B0604020202020204" pitchFamily="34" charset="0"/>
              <a:buChar char="•"/>
            </a:pPr>
            <a:r>
              <a:rPr lang="en-GB" sz="2000" dirty="0">
                <a:solidFill>
                  <a:schemeClr val="tx1"/>
                </a:solidFill>
                <a:latin typeface="+mj-lt"/>
                <a:ea typeface="Lato Light" panose="020F0502020204030203" pitchFamily="34" charset="0"/>
                <a:cs typeface="Mukta ExtraLight" panose="020B0000000000000000" pitchFamily="34" charset="77"/>
              </a:rPr>
              <a:t>Pilot programs prior to </a:t>
            </a:r>
            <a:br>
              <a:rPr lang="en-GB" sz="2000" dirty="0">
                <a:solidFill>
                  <a:schemeClr val="tx1"/>
                </a:solidFill>
                <a:latin typeface="+mj-lt"/>
                <a:ea typeface="Lato Light" panose="020F0502020204030203" pitchFamily="34" charset="0"/>
                <a:cs typeface="Mukta ExtraLight" panose="020B0000000000000000" pitchFamily="34" charset="77"/>
              </a:rPr>
            </a:br>
            <a:r>
              <a:rPr lang="en-GB" sz="2000" dirty="0">
                <a:solidFill>
                  <a:schemeClr val="tx1"/>
                </a:solidFill>
                <a:latin typeface="+mj-lt"/>
                <a:ea typeface="Lato Light" panose="020F0502020204030203" pitchFamily="34" charset="0"/>
                <a:cs typeface="Mukta ExtraLight" panose="020B0000000000000000" pitchFamily="34" charset="77"/>
              </a:rPr>
              <a:t>larger roll outs.</a:t>
            </a:r>
          </a:p>
        </p:txBody>
      </p:sp>
    </p:spTree>
    <p:extLst>
      <p:ext uri="{BB962C8B-B14F-4D97-AF65-F5344CB8AC3E}">
        <p14:creationId xmlns:p14="http://schemas.microsoft.com/office/powerpoint/2010/main" val="6597909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67F03E6C-E0D4-4C1E-9775-68CF9F65DBD3}"/>
              </a:ext>
            </a:extLst>
          </p:cNvPr>
          <p:cNvSpPr>
            <a:spLocks noGrp="1"/>
          </p:cNvSpPr>
          <p:nvPr>
            <p:ph type="body" sz="quarter" idx="11"/>
          </p:nvPr>
        </p:nvSpPr>
        <p:spPr>
          <a:xfrm>
            <a:off x="1060469" y="1767007"/>
            <a:ext cx="6428903" cy="1582271"/>
          </a:xfrm>
        </p:spPr>
        <p:txBody>
          <a:bodyPr/>
          <a:lstStyle/>
          <a:p>
            <a:r>
              <a:rPr lang="en-GB" dirty="0"/>
              <a:t>Root Cause Analysis</a:t>
            </a:r>
          </a:p>
          <a:p>
            <a:endParaRPr lang="en-GB" dirty="0"/>
          </a:p>
        </p:txBody>
      </p:sp>
    </p:spTree>
    <p:extLst>
      <p:ext uri="{BB962C8B-B14F-4D97-AF65-F5344CB8AC3E}">
        <p14:creationId xmlns:p14="http://schemas.microsoft.com/office/powerpoint/2010/main" val="1200478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What you will learn from Module 04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01581"/>
            <a:ext cx="10729959" cy="5324535"/>
          </a:xfrm>
          <a:prstGeom prst="rect">
            <a:avLst/>
          </a:prstGeom>
          <a:noFill/>
        </p:spPr>
        <p:txBody>
          <a:bodyPr wrap="square">
            <a:spAutoFit/>
          </a:bodyPr>
          <a:lstStyle/>
          <a:p>
            <a:endParaRPr lang="en-GB" sz="2000" dirty="0">
              <a:solidFill>
                <a:schemeClr val="bg1"/>
              </a:solidFill>
            </a:endParaRPr>
          </a:p>
          <a:p>
            <a:r>
              <a:rPr lang="en-GB" sz="2000" b="1" dirty="0">
                <a:solidFill>
                  <a:schemeClr val="bg1"/>
                </a:solidFill>
                <a:latin typeface="+mj-lt"/>
                <a:ea typeface="Open Sans Light" panose="020B0306030504020204" pitchFamily="34" charset="0"/>
                <a:cs typeface="Open Sans Light" panose="020B0306030504020204" pitchFamily="34" charset="0"/>
              </a:rPr>
              <a:t>In Module 04, Scanning for Early Warning Signs, y</a:t>
            </a:r>
            <a:r>
              <a:rPr lang="en-IE" sz="2000" dirty="0" err="1">
                <a:solidFill>
                  <a:schemeClr val="bg1"/>
                </a:solidFill>
              </a:rPr>
              <a:t>ou</a:t>
            </a:r>
            <a:r>
              <a:rPr lang="en-IE" sz="2000" dirty="0">
                <a:solidFill>
                  <a:schemeClr val="bg1"/>
                </a:solidFill>
              </a:rPr>
              <a:t> will benefit from learning to </a:t>
            </a:r>
          </a:p>
          <a:p>
            <a:endParaRPr lang="en-IE" sz="2000" dirty="0">
              <a:solidFill>
                <a:schemeClr val="bg1"/>
              </a:solidFill>
            </a:endParaRPr>
          </a:p>
          <a:p>
            <a:pPr marL="342900" indent="-342900">
              <a:buFont typeface="Arial" panose="020B0604020202020204" pitchFamily="34" charset="0"/>
              <a:buChar char="•"/>
            </a:pPr>
            <a:r>
              <a:rPr lang="en-GB" sz="2000" dirty="0">
                <a:solidFill>
                  <a:schemeClr val="bg1"/>
                </a:solidFill>
              </a:rPr>
              <a:t>The Skills needed during a business crisis</a:t>
            </a:r>
          </a:p>
          <a:p>
            <a:pPr marL="342900" indent="-342900">
              <a:buFont typeface="Arial" panose="020B0604020202020204" pitchFamily="34" charset="0"/>
              <a:buChar char="•"/>
            </a:pPr>
            <a:r>
              <a:rPr lang="en-GB" sz="2000" dirty="0">
                <a:solidFill>
                  <a:schemeClr val="bg1"/>
                </a:solidFill>
              </a:rPr>
              <a:t>Scanning for Early Warning Signs, 4 key areas </a:t>
            </a:r>
          </a:p>
          <a:p>
            <a:pPr marL="342900" indent="-342900">
              <a:buFont typeface="Arial" panose="020B0604020202020204" pitchFamily="34" charset="0"/>
              <a:buChar char="•"/>
            </a:pPr>
            <a:r>
              <a:rPr lang="en-GB" sz="2000" dirty="0">
                <a:solidFill>
                  <a:schemeClr val="bg1"/>
                </a:solidFill>
              </a:rPr>
              <a:t>The 5 Steps of Stakeholder Management </a:t>
            </a:r>
          </a:p>
          <a:p>
            <a:endParaRPr lang="en-GB" sz="2000" dirty="0">
              <a:solidFill>
                <a:schemeClr val="bg1"/>
              </a:solidFill>
            </a:endParaRPr>
          </a:p>
          <a:p>
            <a:r>
              <a:rPr lang="en-GB" sz="2000" dirty="0">
                <a:solidFill>
                  <a:schemeClr val="bg1"/>
                </a:solidFill>
              </a:rPr>
              <a:t>Such is the importance of using social media as an early warning tool, we bring you this learning early in our programme. Even before deeper financial content. Why?  Communication is the bedrock of crisis management. </a:t>
            </a:r>
          </a:p>
          <a:p>
            <a:endParaRPr lang="en-GB" sz="2000" dirty="0">
              <a:solidFill>
                <a:schemeClr val="bg1"/>
              </a:solidFill>
            </a:endParaRPr>
          </a:p>
          <a:p>
            <a:pPr marL="342900" indent="-342900">
              <a:buFont typeface="Arial" panose="020B0604020202020204" pitchFamily="34" charset="0"/>
              <a:buChar char="•"/>
            </a:pPr>
            <a:r>
              <a:rPr lang="en-GB" sz="2000" dirty="0">
                <a:solidFill>
                  <a:schemeClr val="bg1"/>
                </a:solidFill>
              </a:rPr>
              <a:t>Social Listening / Using Social Media for Early Warning  </a:t>
            </a:r>
          </a:p>
          <a:p>
            <a:pPr marL="342900" indent="-342900">
              <a:buFont typeface="Arial" panose="020B0604020202020204" pitchFamily="34" charset="0"/>
              <a:buChar char="•"/>
            </a:pPr>
            <a:r>
              <a:rPr lang="en-GB" sz="2000" dirty="0">
                <a:solidFill>
                  <a:schemeClr val="bg1"/>
                </a:solidFill>
              </a:rPr>
              <a:t>The 5 steps of Managing a Social Media Crisis </a:t>
            </a:r>
          </a:p>
          <a:p>
            <a:endParaRPr lang="en-GB" sz="2000" dirty="0">
              <a:solidFill>
                <a:schemeClr val="bg1"/>
              </a:solidFill>
            </a:endParaRPr>
          </a:p>
          <a:p>
            <a:r>
              <a:rPr lang="en-GB" sz="2000" b="1" dirty="0">
                <a:solidFill>
                  <a:schemeClr val="bg1"/>
                </a:solidFill>
              </a:rPr>
              <a:t>We invite you to deepen your learning by watching some insightful videos.</a:t>
            </a: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5510917F-399B-43DD-A65E-7EBC3AAFD511}"/>
              </a:ext>
            </a:extLst>
          </p:cNvPr>
          <p:cNvSpPr>
            <a:spLocks noGrp="1"/>
          </p:cNvSpPr>
          <p:nvPr>
            <p:ph type="body" sz="quarter" idx="13"/>
          </p:nvPr>
        </p:nvSpPr>
        <p:spPr>
          <a:xfrm>
            <a:off x="1443067" y="644703"/>
            <a:ext cx="8852375" cy="697353"/>
          </a:xfrm>
        </p:spPr>
        <p:txBody>
          <a:bodyPr>
            <a:normAutofit fontScale="92500"/>
          </a:bodyPr>
          <a:lstStyle/>
          <a:p>
            <a:r>
              <a:rPr lang="en-GB" dirty="0"/>
              <a:t>How Root Cause Analysis will help your business</a:t>
            </a:r>
            <a:endParaRPr lang="en-IE" dirty="0"/>
          </a:p>
        </p:txBody>
      </p:sp>
      <p:sp>
        <p:nvSpPr>
          <p:cNvPr id="3" name="Text Placeholder 2">
            <a:extLst>
              <a:ext uri="{FF2B5EF4-FFF2-40B4-BE49-F238E27FC236}">
                <a16:creationId xmlns:a16="http://schemas.microsoft.com/office/drawing/2014/main" xmlns="" id="{B2BBB387-A654-4F64-A21D-826F6146740F}"/>
              </a:ext>
            </a:extLst>
          </p:cNvPr>
          <p:cNvSpPr>
            <a:spLocks noGrp="1"/>
          </p:cNvSpPr>
          <p:nvPr>
            <p:ph type="body" sz="quarter" idx="14"/>
          </p:nvPr>
        </p:nvSpPr>
        <p:spPr>
          <a:xfrm>
            <a:off x="742018" y="2017413"/>
            <a:ext cx="10796839" cy="3975101"/>
          </a:xfrm>
        </p:spPr>
        <p:txBody>
          <a:bodyPr/>
          <a:lstStyle/>
          <a:p>
            <a:pPr algn="l">
              <a:lnSpc>
                <a:spcPct val="100000"/>
              </a:lnSpc>
              <a:spcBef>
                <a:spcPts val="600"/>
              </a:spcBef>
            </a:pPr>
            <a:r>
              <a:rPr lang="en-GB" sz="2400" dirty="0">
                <a:solidFill>
                  <a:schemeClr val="tx1"/>
                </a:solidFill>
                <a:latin typeface="+mj-lt"/>
                <a:ea typeface="Open Sans Light" panose="020B0306030504020204" pitchFamily="34" charset="0"/>
                <a:cs typeface="Open Sans Light" panose="020B0306030504020204" pitchFamily="34" charset="0"/>
              </a:rPr>
              <a:t>Implementing Root Cause Analysis will help your business to</a:t>
            </a:r>
          </a:p>
          <a:p>
            <a:pPr marL="285750" indent="-285750" algn="l">
              <a:lnSpc>
                <a:spcPct val="100000"/>
              </a:lnSpc>
              <a:spcBef>
                <a:spcPts val="600"/>
              </a:spcBef>
              <a:buFontTx/>
              <a:buChar char="-"/>
            </a:pPr>
            <a:r>
              <a:rPr lang="en-GB" sz="2400" dirty="0">
                <a:solidFill>
                  <a:schemeClr val="tx1"/>
                </a:solidFill>
                <a:latin typeface="+mj-lt"/>
                <a:ea typeface="Open Sans Light" panose="020B0306030504020204" pitchFamily="34" charset="0"/>
                <a:cs typeface="Open Sans Light" panose="020B0306030504020204" pitchFamily="34" charset="0"/>
                <a:sym typeface="Wingdings" panose="05000000000000000000" pitchFamily="2" charset="2"/>
              </a:rPr>
              <a:t>Identify barriers and the causes of problems, so that permanent solutions can be found</a:t>
            </a:r>
          </a:p>
          <a:p>
            <a:pPr marL="285750" indent="-285750" algn="l">
              <a:lnSpc>
                <a:spcPct val="100000"/>
              </a:lnSpc>
              <a:spcBef>
                <a:spcPts val="600"/>
              </a:spcBef>
              <a:buFontTx/>
              <a:buChar char="-"/>
            </a:pPr>
            <a:r>
              <a:rPr lang="en-GB" sz="2400" dirty="0">
                <a:solidFill>
                  <a:schemeClr val="tx1"/>
                </a:solidFill>
                <a:latin typeface="+mj-lt"/>
                <a:ea typeface="Open Sans Light" panose="020B0306030504020204" pitchFamily="34" charset="0"/>
                <a:cs typeface="Open Sans Light" panose="020B0306030504020204" pitchFamily="34" charset="0"/>
                <a:sym typeface="Wingdings" panose="05000000000000000000" pitchFamily="2" charset="2"/>
              </a:rPr>
              <a:t>Develop a logical approach to problem-solving, using data that already exists in the agency</a:t>
            </a:r>
          </a:p>
          <a:p>
            <a:pPr marL="285750" indent="-285750" algn="l">
              <a:lnSpc>
                <a:spcPct val="100000"/>
              </a:lnSpc>
              <a:spcBef>
                <a:spcPts val="600"/>
              </a:spcBef>
              <a:buFontTx/>
              <a:buChar char="-"/>
            </a:pPr>
            <a:r>
              <a:rPr lang="en-GB" sz="2400" dirty="0">
                <a:solidFill>
                  <a:schemeClr val="tx1"/>
                </a:solidFill>
                <a:latin typeface="+mj-lt"/>
                <a:ea typeface="Open Sans Light" panose="020B0306030504020204" pitchFamily="34" charset="0"/>
                <a:cs typeface="Open Sans Light" panose="020B0306030504020204" pitchFamily="34" charset="0"/>
                <a:sym typeface="Wingdings" panose="05000000000000000000" pitchFamily="2" charset="2"/>
              </a:rPr>
              <a:t>Identify current and future needs</a:t>
            </a:r>
          </a:p>
          <a:p>
            <a:pPr marL="285750" indent="-285750" algn="l">
              <a:lnSpc>
                <a:spcPct val="100000"/>
              </a:lnSpc>
              <a:spcBef>
                <a:spcPts val="600"/>
              </a:spcBef>
              <a:buFontTx/>
              <a:buChar char="-"/>
            </a:pPr>
            <a:r>
              <a:rPr lang="en-GB" sz="2400" dirty="0">
                <a:solidFill>
                  <a:schemeClr val="tx1"/>
                </a:solidFill>
                <a:latin typeface="+mj-lt"/>
                <a:ea typeface="Open Sans Light" panose="020B0306030504020204" pitchFamily="34" charset="0"/>
                <a:cs typeface="Open Sans Light" panose="020B0306030504020204" pitchFamily="34" charset="0"/>
                <a:sym typeface="Wingdings" panose="05000000000000000000" pitchFamily="2" charset="2"/>
              </a:rPr>
              <a:t>Establish repeatable step by step guides</a:t>
            </a:r>
          </a:p>
          <a:p>
            <a:endParaRPr lang="en-IE" dirty="0"/>
          </a:p>
        </p:txBody>
      </p:sp>
    </p:spTree>
    <p:extLst>
      <p:ext uri="{BB962C8B-B14F-4D97-AF65-F5344CB8AC3E}">
        <p14:creationId xmlns:p14="http://schemas.microsoft.com/office/powerpoint/2010/main" val="24253169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20517" y="569099"/>
            <a:ext cx="8852375" cy="697353"/>
          </a:xfrm>
        </p:spPr>
        <p:txBody>
          <a:bodyPr>
            <a:normAutofit/>
          </a:bodyPr>
          <a:lstStyle/>
          <a:p>
            <a:r>
              <a:rPr lang="en-GB" dirty="0"/>
              <a:t>How to identify risks: Root-Cause-Analy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3706080" cy="32063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root cause analysis is one of the essential instruments of corporate management.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t involves the recording of errors, their causes and the statistical evaluation of this data, which is followed by an evaluation and derived measures for error reduction.</a:t>
            </a:r>
          </a:p>
        </p:txBody>
      </p:sp>
      <p:sp>
        <p:nvSpPr>
          <p:cNvPr id="24" name="Shape 24627">
            <a:extLst>
              <a:ext uri="{FF2B5EF4-FFF2-40B4-BE49-F238E27FC236}">
                <a16:creationId xmlns:a16="http://schemas.microsoft.com/office/drawing/2014/main" xmlns="" id="{FC0D1B59-6836-404A-BA80-17418FB9A650}"/>
              </a:ext>
            </a:extLst>
          </p:cNvPr>
          <p:cNvSpPr/>
          <p:nvPr/>
        </p:nvSpPr>
        <p:spPr>
          <a:xfrm>
            <a:off x="5646705" y="2072620"/>
            <a:ext cx="2852200" cy="3930181"/>
          </a:xfrm>
          <a:custGeom>
            <a:avLst/>
            <a:gdLst/>
            <a:ahLst/>
            <a:cxnLst>
              <a:cxn ang="0">
                <a:pos x="wd2" y="hd2"/>
              </a:cxn>
              <a:cxn ang="5400000">
                <a:pos x="wd2" y="hd2"/>
              </a:cxn>
              <a:cxn ang="10800000">
                <a:pos x="wd2" y="hd2"/>
              </a:cxn>
              <a:cxn ang="16200000">
                <a:pos x="wd2" y="hd2"/>
              </a:cxn>
            </a:cxnLst>
            <a:rect l="0" t="0" r="r" b="b"/>
            <a:pathLst>
              <a:path w="21404" h="21491" extrusionOk="0">
                <a:moveTo>
                  <a:pt x="8906" y="0"/>
                </a:moveTo>
                <a:cubicBezTo>
                  <a:pt x="8908" y="3"/>
                  <a:pt x="8910" y="5"/>
                  <a:pt x="8912" y="8"/>
                </a:cubicBezTo>
                <a:cubicBezTo>
                  <a:pt x="8913" y="10"/>
                  <a:pt x="8913" y="12"/>
                  <a:pt x="8915" y="14"/>
                </a:cubicBezTo>
                <a:lnTo>
                  <a:pt x="8917" y="14"/>
                </a:lnTo>
                <a:lnTo>
                  <a:pt x="8917" y="12"/>
                </a:lnTo>
                <a:cubicBezTo>
                  <a:pt x="8918" y="9"/>
                  <a:pt x="8917" y="6"/>
                  <a:pt x="8915" y="4"/>
                </a:cubicBezTo>
                <a:cubicBezTo>
                  <a:pt x="8913" y="2"/>
                  <a:pt x="8910" y="1"/>
                  <a:pt x="8906" y="0"/>
                </a:cubicBezTo>
                <a:close/>
                <a:moveTo>
                  <a:pt x="8915" y="14"/>
                </a:moveTo>
                <a:cubicBezTo>
                  <a:pt x="8912" y="19"/>
                  <a:pt x="8903" y="21"/>
                  <a:pt x="8895" y="22"/>
                </a:cubicBezTo>
                <a:cubicBezTo>
                  <a:pt x="8862" y="29"/>
                  <a:pt x="8831" y="39"/>
                  <a:pt x="8804" y="55"/>
                </a:cubicBezTo>
                <a:cubicBezTo>
                  <a:pt x="9093" y="398"/>
                  <a:pt x="9413" y="727"/>
                  <a:pt x="9758" y="1041"/>
                </a:cubicBezTo>
                <a:cubicBezTo>
                  <a:pt x="10147" y="1395"/>
                  <a:pt x="10569" y="1730"/>
                  <a:pt x="11038" y="2028"/>
                </a:cubicBezTo>
                <a:cubicBezTo>
                  <a:pt x="11310" y="2202"/>
                  <a:pt x="11606" y="2374"/>
                  <a:pt x="11704" y="2629"/>
                </a:cubicBezTo>
                <a:cubicBezTo>
                  <a:pt x="11746" y="2738"/>
                  <a:pt x="11745" y="2848"/>
                  <a:pt x="11740" y="2960"/>
                </a:cubicBezTo>
                <a:cubicBezTo>
                  <a:pt x="11716" y="3435"/>
                  <a:pt x="11614" y="3919"/>
                  <a:pt x="11443" y="4380"/>
                </a:cubicBezTo>
                <a:cubicBezTo>
                  <a:pt x="11414" y="4457"/>
                  <a:pt x="11384" y="4534"/>
                  <a:pt x="11351" y="4610"/>
                </a:cubicBezTo>
                <a:lnTo>
                  <a:pt x="7752" y="2503"/>
                </a:lnTo>
                <a:lnTo>
                  <a:pt x="7596" y="2637"/>
                </a:lnTo>
                <a:cubicBezTo>
                  <a:pt x="8432" y="3131"/>
                  <a:pt x="9268" y="3627"/>
                  <a:pt x="10102" y="4123"/>
                </a:cubicBezTo>
                <a:cubicBezTo>
                  <a:pt x="10357" y="4275"/>
                  <a:pt x="10611" y="4431"/>
                  <a:pt x="10793" y="4629"/>
                </a:cubicBezTo>
                <a:cubicBezTo>
                  <a:pt x="10848" y="4688"/>
                  <a:pt x="10896" y="4751"/>
                  <a:pt x="10935" y="4817"/>
                </a:cubicBezTo>
                <a:cubicBezTo>
                  <a:pt x="10973" y="4882"/>
                  <a:pt x="11002" y="4949"/>
                  <a:pt x="11026" y="5019"/>
                </a:cubicBezTo>
                <a:cubicBezTo>
                  <a:pt x="11159" y="5404"/>
                  <a:pt x="11099" y="5798"/>
                  <a:pt x="11013" y="6186"/>
                </a:cubicBezTo>
                <a:cubicBezTo>
                  <a:pt x="10894" y="6716"/>
                  <a:pt x="10718" y="7250"/>
                  <a:pt x="10605" y="7783"/>
                </a:cubicBezTo>
                <a:cubicBezTo>
                  <a:pt x="10568" y="7956"/>
                  <a:pt x="10537" y="8130"/>
                  <a:pt x="10469" y="8297"/>
                </a:cubicBezTo>
                <a:cubicBezTo>
                  <a:pt x="10404" y="8455"/>
                  <a:pt x="10278" y="8611"/>
                  <a:pt x="10061" y="8620"/>
                </a:cubicBezTo>
                <a:cubicBezTo>
                  <a:pt x="9876" y="8629"/>
                  <a:pt x="9735" y="8520"/>
                  <a:pt x="9619" y="8412"/>
                </a:cubicBezTo>
                <a:cubicBezTo>
                  <a:pt x="9459" y="8263"/>
                  <a:pt x="9307" y="8108"/>
                  <a:pt x="9153" y="7955"/>
                </a:cubicBezTo>
                <a:cubicBezTo>
                  <a:pt x="9134" y="7936"/>
                  <a:pt x="9114" y="7916"/>
                  <a:pt x="9095" y="7896"/>
                </a:cubicBezTo>
                <a:cubicBezTo>
                  <a:pt x="9085" y="7887"/>
                  <a:pt x="9076" y="7877"/>
                  <a:pt x="9067" y="7866"/>
                </a:cubicBezTo>
                <a:cubicBezTo>
                  <a:pt x="9022" y="7811"/>
                  <a:pt x="9000" y="7748"/>
                  <a:pt x="8987" y="7684"/>
                </a:cubicBezTo>
                <a:cubicBezTo>
                  <a:pt x="8860" y="7096"/>
                  <a:pt x="9000" y="6491"/>
                  <a:pt x="9386" y="5966"/>
                </a:cubicBezTo>
                <a:lnTo>
                  <a:pt x="9350" y="5865"/>
                </a:lnTo>
                <a:cubicBezTo>
                  <a:pt x="9078" y="6185"/>
                  <a:pt x="8876" y="6533"/>
                  <a:pt x="8751" y="6898"/>
                </a:cubicBezTo>
                <a:cubicBezTo>
                  <a:pt x="8679" y="7106"/>
                  <a:pt x="8632" y="7320"/>
                  <a:pt x="8612" y="7534"/>
                </a:cubicBezTo>
                <a:cubicBezTo>
                  <a:pt x="8478" y="7365"/>
                  <a:pt x="8339" y="7195"/>
                  <a:pt x="8204" y="7025"/>
                </a:cubicBezTo>
                <a:cubicBezTo>
                  <a:pt x="8020" y="6793"/>
                  <a:pt x="7834" y="6562"/>
                  <a:pt x="7675" y="6321"/>
                </a:cubicBezTo>
                <a:cubicBezTo>
                  <a:pt x="7521" y="6087"/>
                  <a:pt x="7390" y="5845"/>
                  <a:pt x="7286" y="5597"/>
                </a:cubicBezTo>
                <a:cubicBezTo>
                  <a:pt x="7280" y="5632"/>
                  <a:pt x="7236" y="5657"/>
                  <a:pt x="7188" y="5652"/>
                </a:cubicBezTo>
                <a:cubicBezTo>
                  <a:pt x="7132" y="5646"/>
                  <a:pt x="7066" y="5630"/>
                  <a:pt x="7066" y="5666"/>
                </a:cubicBezTo>
                <a:cubicBezTo>
                  <a:pt x="7067" y="5696"/>
                  <a:pt x="7125" y="5701"/>
                  <a:pt x="7136" y="5672"/>
                </a:cubicBezTo>
                <a:cubicBezTo>
                  <a:pt x="7484" y="6392"/>
                  <a:pt x="7917" y="7090"/>
                  <a:pt x="8421" y="7755"/>
                </a:cubicBezTo>
                <a:cubicBezTo>
                  <a:pt x="8561" y="7939"/>
                  <a:pt x="8698" y="8124"/>
                  <a:pt x="8845" y="8305"/>
                </a:cubicBezTo>
                <a:cubicBezTo>
                  <a:pt x="8029" y="8074"/>
                  <a:pt x="7243" y="7792"/>
                  <a:pt x="6500" y="7460"/>
                </a:cubicBezTo>
                <a:cubicBezTo>
                  <a:pt x="5816" y="7154"/>
                  <a:pt x="5169" y="6807"/>
                  <a:pt x="4555" y="6430"/>
                </a:cubicBezTo>
                <a:cubicBezTo>
                  <a:pt x="3832" y="5988"/>
                  <a:pt x="3153" y="5507"/>
                  <a:pt x="2529" y="4985"/>
                </a:cubicBezTo>
                <a:lnTo>
                  <a:pt x="2390" y="5043"/>
                </a:lnTo>
                <a:cubicBezTo>
                  <a:pt x="2799" y="5457"/>
                  <a:pt x="3248" y="5846"/>
                  <a:pt x="3736" y="6208"/>
                </a:cubicBezTo>
                <a:cubicBezTo>
                  <a:pt x="4224" y="6570"/>
                  <a:pt x="4752" y="6905"/>
                  <a:pt x="5310" y="7209"/>
                </a:cubicBezTo>
                <a:cubicBezTo>
                  <a:pt x="5149" y="7306"/>
                  <a:pt x="4984" y="7399"/>
                  <a:pt x="4816" y="7488"/>
                </a:cubicBezTo>
                <a:cubicBezTo>
                  <a:pt x="4190" y="7818"/>
                  <a:pt x="3511" y="8093"/>
                  <a:pt x="2795" y="8305"/>
                </a:cubicBezTo>
                <a:cubicBezTo>
                  <a:pt x="2797" y="8307"/>
                  <a:pt x="2799" y="8309"/>
                  <a:pt x="2801" y="8311"/>
                </a:cubicBezTo>
                <a:cubicBezTo>
                  <a:pt x="2836" y="8347"/>
                  <a:pt x="2887" y="8375"/>
                  <a:pt x="2948" y="8380"/>
                </a:cubicBezTo>
                <a:cubicBezTo>
                  <a:pt x="3431" y="8270"/>
                  <a:pt x="3891" y="8114"/>
                  <a:pt x="4316" y="7915"/>
                </a:cubicBezTo>
                <a:cubicBezTo>
                  <a:pt x="4666" y="7751"/>
                  <a:pt x="4999" y="7557"/>
                  <a:pt x="5404" y="7484"/>
                </a:cubicBezTo>
                <a:cubicBezTo>
                  <a:pt x="5547" y="7458"/>
                  <a:pt x="5697" y="7449"/>
                  <a:pt x="5837" y="7484"/>
                </a:cubicBezTo>
                <a:cubicBezTo>
                  <a:pt x="5911" y="7502"/>
                  <a:pt x="5978" y="7533"/>
                  <a:pt x="6045" y="7563"/>
                </a:cubicBezTo>
                <a:cubicBezTo>
                  <a:pt x="6835" y="7919"/>
                  <a:pt x="7642" y="8275"/>
                  <a:pt x="8421" y="8639"/>
                </a:cubicBezTo>
                <a:cubicBezTo>
                  <a:pt x="8607" y="8726"/>
                  <a:pt x="8788" y="8813"/>
                  <a:pt x="8970" y="8903"/>
                </a:cubicBezTo>
                <a:cubicBezTo>
                  <a:pt x="8667" y="9042"/>
                  <a:pt x="8363" y="9179"/>
                  <a:pt x="8057" y="9314"/>
                </a:cubicBezTo>
                <a:cubicBezTo>
                  <a:pt x="7036" y="9763"/>
                  <a:pt x="5991" y="10183"/>
                  <a:pt x="4932" y="10582"/>
                </a:cubicBezTo>
                <a:cubicBezTo>
                  <a:pt x="4936" y="10587"/>
                  <a:pt x="4939" y="10591"/>
                  <a:pt x="4943" y="10596"/>
                </a:cubicBezTo>
                <a:cubicBezTo>
                  <a:pt x="4992" y="10652"/>
                  <a:pt x="5079" y="10682"/>
                  <a:pt x="5168" y="10679"/>
                </a:cubicBezTo>
                <a:cubicBezTo>
                  <a:pt x="5827" y="10431"/>
                  <a:pt x="6478" y="10170"/>
                  <a:pt x="7119" y="9898"/>
                </a:cubicBezTo>
                <a:cubicBezTo>
                  <a:pt x="7444" y="9761"/>
                  <a:pt x="7779" y="9620"/>
                  <a:pt x="8107" y="9494"/>
                </a:cubicBezTo>
                <a:cubicBezTo>
                  <a:pt x="8446" y="9364"/>
                  <a:pt x="8792" y="9248"/>
                  <a:pt x="9181" y="9267"/>
                </a:cubicBezTo>
                <a:cubicBezTo>
                  <a:pt x="9338" y="9275"/>
                  <a:pt x="9493" y="9307"/>
                  <a:pt x="9622" y="9373"/>
                </a:cubicBezTo>
                <a:cubicBezTo>
                  <a:pt x="9808" y="9467"/>
                  <a:pt x="9919" y="9617"/>
                  <a:pt x="10008" y="9771"/>
                </a:cubicBezTo>
                <a:cubicBezTo>
                  <a:pt x="10386" y="10425"/>
                  <a:pt x="10430" y="11144"/>
                  <a:pt x="10519" y="11849"/>
                </a:cubicBezTo>
                <a:cubicBezTo>
                  <a:pt x="10674" y="13094"/>
                  <a:pt x="10911" y="14437"/>
                  <a:pt x="9767" y="15374"/>
                </a:cubicBezTo>
                <a:cubicBezTo>
                  <a:pt x="9502" y="15591"/>
                  <a:pt x="9182" y="15768"/>
                  <a:pt x="8823" y="15892"/>
                </a:cubicBezTo>
                <a:cubicBezTo>
                  <a:pt x="8208" y="16104"/>
                  <a:pt x="7432" y="16220"/>
                  <a:pt x="6581" y="16319"/>
                </a:cubicBezTo>
                <a:cubicBezTo>
                  <a:pt x="5730" y="16418"/>
                  <a:pt x="4805" y="16500"/>
                  <a:pt x="3891" y="16643"/>
                </a:cubicBezTo>
                <a:cubicBezTo>
                  <a:pt x="3248" y="16744"/>
                  <a:pt x="2607" y="16862"/>
                  <a:pt x="2005" y="17009"/>
                </a:cubicBezTo>
                <a:cubicBezTo>
                  <a:pt x="1697" y="17085"/>
                  <a:pt x="1398" y="17167"/>
                  <a:pt x="1126" y="17282"/>
                </a:cubicBezTo>
                <a:cubicBezTo>
                  <a:pt x="977" y="17345"/>
                  <a:pt x="838" y="17416"/>
                  <a:pt x="694" y="17481"/>
                </a:cubicBezTo>
                <a:cubicBezTo>
                  <a:pt x="536" y="17552"/>
                  <a:pt x="370" y="17616"/>
                  <a:pt x="244" y="17725"/>
                </a:cubicBezTo>
                <a:cubicBezTo>
                  <a:pt x="45" y="17897"/>
                  <a:pt x="-179" y="18069"/>
                  <a:pt x="225" y="17895"/>
                </a:cubicBezTo>
                <a:cubicBezTo>
                  <a:pt x="833" y="17633"/>
                  <a:pt x="2236" y="17132"/>
                  <a:pt x="3896" y="16906"/>
                </a:cubicBezTo>
                <a:cubicBezTo>
                  <a:pt x="3777" y="17053"/>
                  <a:pt x="3509" y="17241"/>
                  <a:pt x="3019" y="17523"/>
                </a:cubicBezTo>
                <a:cubicBezTo>
                  <a:pt x="2849" y="17621"/>
                  <a:pt x="2695" y="17693"/>
                  <a:pt x="2581" y="17761"/>
                </a:cubicBezTo>
                <a:cubicBezTo>
                  <a:pt x="2334" y="17910"/>
                  <a:pt x="2368" y="17940"/>
                  <a:pt x="2659" y="17852"/>
                </a:cubicBezTo>
                <a:cubicBezTo>
                  <a:pt x="2794" y="17811"/>
                  <a:pt x="2989" y="17770"/>
                  <a:pt x="3183" y="17654"/>
                </a:cubicBezTo>
                <a:cubicBezTo>
                  <a:pt x="3687" y="17353"/>
                  <a:pt x="4054" y="17045"/>
                  <a:pt x="4483" y="16892"/>
                </a:cubicBezTo>
                <a:cubicBezTo>
                  <a:pt x="5131" y="16660"/>
                  <a:pt x="5815" y="16659"/>
                  <a:pt x="6403" y="16597"/>
                </a:cubicBezTo>
                <a:cubicBezTo>
                  <a:pt x="7000" y="16534"/>
                  <a:pt x="7522" y="16453"/>
                  <a:pt x="7888" y="16406"/>
                </a:cubicBezTo>
                <a:cubicBezTo>
                  <a:pt x="8538" y="16321"/>
                  <a:pt x="9044" y="16287"/>
                  <a:pt x="9531" y="16230"/>
                </a:cubicBezTo>
                <a:cubicBezTo>
                  <a:pt x="9192" y="16475"/>
                  <a:pt x="8934" y="16793"/>
                  <a:pt x="8618" y="17253"/>
                </a:cubicBezTo>
                <a:cubicBezTo>
                  <a:pt x="8398" y="17572"/>
                  <a:pt x="8114" y="17996"/>
                  <a:pt x="7638" y="18110"/>
                </a:cubicBezTo>
                <a:cubicBezTo>
                  <a:pt x="7218" y="18211"/>
                  <a:pt x="6787" y="18184"/>
                  <a:pt x="6442" y="18124"/>
                </a:cubicBezTo>
                <a:cubicBezTo>
                  <a:pt x="6024" y="18052"/>
                  <a:pt x="5974" y="18084"/>
                  <a:pt x="6375" y="18199"/>
                </a:cubicBezTo>
                <a:cubicBezTo>
                  <a:pt x="6726" y="18300"/>
                  <a:pt x="7180" y="18383"/>
                  <a:pt x="7649" y="18353"/>
                </a:cubicBezTo>
                <a:cubicBezTo>
                  <a:pt x="8163" y="18320"/>
                  <a:pt x="8692" y="17994"/>
                  <a:pt x="9100" y="17400"/>
                </a:cubicBezTo>
                <a:cubicBezTo>
                  <a:pt x="9455" y="16885"/>
                  <a:pt x="10054" y="16139"/>
                  <a:pt x="10255" y="16175"/>
                </a:cubicBezTo>
                <a:cubicBezTo>
                  <a:pt x="10517" y="16222"/>
                  <a:pt x="10428" y="16653"/>
                  <a:pt x="10249" y="16970"/>
                </a:cubicBezTo>
                <a:cubicBezTo>
                  <a:pt x="9333" y="18591"/>
                  <a:pt x="9705" y="18645"/>
                  <a:pt x="9250" y="18832"/>
                </a:cubicBezTo>
                <a:cubicBezTo>
                  <a:pt x="8931" y="18964"/>
                  <a:pt x="8058" y="19200"/>
                  <a:pt x="7385" y="19683"/>
                </a:cubicBezTo>
                <a:cubicBezTo>
                  <a:pt x="7110" y="19881"/>
                  <a:pt x="6911" y="20030"/>
                  <a:pt x="6764" y="20140"/>
                </a:cubicBezTo>
                <a:cubicBezTo>
                  <a:pt x="6526" y="20319"/>
                  <a:pt x="6569" y="20361"/>
                  <a:pt x="6850" y="20221"/>
                </a:cubicBezTo>
                <a:cubicBezTo>
                  <a:pt x="7038" y="20128"/>
                  <a:pt x="7281" y="20001"/>
                  <a:pt x="7574" y="19829"/>
                </a:cubicBezTo>
                <a:cubicBezTo>
                  <a:pt x="8411" y="19340"/>
                  <a:pt x="9041" y="19223"/>
                  <a:pt x="9331" y="19176"/>
                </a:cubicBezTo>
                <a:cubicBezTo>
                  <a:pt x="9171" y="19628"/>
                  <a:pt x="8882" y="19989"/>
                  <a:pt x="8587" y="20284"/>
                </a:cubicBezTo>
                <a:cubicBezTo>
                  <a:pt x="7706" y="21166"/>
                  <a:pt x="5443" y="21151"/>
                  <a:pt x="3986" y="21038"/>
                </a:cubicBezTo>
                <a:cubicBezTo>
                  <a:pt x="3218" y="20979"/>
                  <a:pt x="3601" y="21087"/>
                  <a:pt x="4028" y="21150"/>
                </a:cubicBezTo>
                <a:cubicBezTo>
                  <a:pt x="7086" y="21600"/>
                  <a:pt x="9355" y="21295"/>
                  <a:pt x="10061" y="18687"/>
                </a:cubicBezTo>
                <a:cubicBezTo>
                  <a:pt x="10413" y="17385"/>
                  <a:pt x="10684" y="17482"/>
                  <a:pt x="10968" y="16588"/>
                </a:cubicBezTo>
                <a:cubicBezTo>
                  <a:pt x="11065" y="16804"/>
                  <a:pt x="11249" y="17300"/>
                  <a:pt x="11182" y="18005"/>
                </a:cubicBezTo>
                <a:cubicBezTo>
                  <a:pt x="11158" y="18253"/>
                  <a:pt x="11149" y="18457"/>
                  <a:pt x="11149" y="18616"/>
                </a:cubicBezTo>
                <a:cubicBezTo>
                  <a:pt x="11147" y="18901"/>
                  <a:pt x="11224" y="18902"/>
                  <a:pt x="11296" y="18620"/>
                </a:cubicBezTo>
                <a:cubicBezTo>
                  <a:pt x="11334" y="18471"/>
                  <a:pt x="11382" y="18274"/>
                  <a:pt x="11437" y="18017"/>
                </a:cubicBezTo>
                <a:cubicBezTo>
                  <a:pt x="11686" y="16860"/>
                  <a:pt x="11283" y="15788"/>
                  <a:pt x="11723" y="15900"/>
                </a:cubicBezTo>
                <a:cubicBezTo>
                  <a:pt x="12147" y="16008"/>
                  <a:pt x="12576" y="17071"/>
                  <a:pt x="12361" y="17750"/>
                </a:cubicBezTo>
                <a:cubicBezTo>
                  <a:pt x="12326" y="17861"/>
                  <a:pt x="12285" y="17972"/>
                  <a:pt x="12250" y="18080"/>
                </a:cubicBezTo>
                <a:cubicBezTo>
                  <a:pt x="12064" y="18651"/>
                  <a:pt x="12228" y="18976"/>
                  <a:pt x="12347" y="19467"/>
                </a:cubicBezTo>
                <a:cubicBezTo>
                  <a:pt x="12378" y="19594"/>
                  <a:pt x="12408" y="19783"/>
                  <a:pt x="12100" y="20039"/>
                </a:cubicBezTo>
                <a:cubicBezTo>
                  <a:pt x="11896" y="20210"/>
                  <a:pt x="11752" y="20462"/>
                  <a:pt x="11601" y="20773"/>
                </a:cubicBezTo>
                <a:cubicBezTo>
                  <a:pt x="11498" y="20984"/>
                  <a:pt x="11296" y="21238"/>
                  <a:pt x="10979" y="21323"/>
                </a:cubicBezTo>
                <a:cubicBezTo>
                  <a:pt x="10895" y="21346"/>
                  <a:pt x="10808" y="21362"/>
                  <a:pt x="10721" y="21372"/>
                </a:cubicBezTo>
                <a:cubicBezTo>
                  <a:pt x="10173" y="21434"/>
                  <a:pt x="10084" y="21459"/>
                  <a:pt x="10638" y="21487"/>
                </a:cubicBezTo>
                <a:cubicBezTo>
                  <a:pt x="10765" y="21494"/>
                  <a:pt x="10897" y="21492"/>
                  <a:pt x="11026" y="21479"/>
                </a:cubicBezTo>
                <a:cubicBezTo>
                  <a:pt x="11381" y="21444"/>
                  <a:pt x="11763" y="21241"/>
                  <a:pt x="11959" y="20852"/>
                </a:cubicBezTo>
                <a:cubicBezTo>
                  <a:pt x="12154" y="20467"/>
                  <a:pt x="12421" y="20263"/>
                  <a:pt x="12744" y="20060"/>
                </a:cubicBezTo>
                <a:cubicBezTo>
                  <a:pt x="12782" y="20086"/>
                  <a:pt x="12820" y="20112"/>
                  <a:pt x="12861" y="20138"/>
                </a:cubicBezTo>
                <a:cubicBezTo>
                  <a:pt x="13615" y="20625"/>
                  <a:pt x="14036" y="20846"/>
                  <a:pt x="16355" y="20893"/>
                </a:cubicBezTo>
                <a:cubicBezTo>
                  <a:pt x="19073" y="20948"/>
                  <a:pt x="19722" y="21062"/>
                  <a:pt x="20368" y="21226"/>
                </a:cubicBezTo>
                <a:cubicBezTo>
                  <a:pt x="21030" y="21395"/>
                  <a:pt x="21127" y="21302"/>
                  <a:pt x="20617" y="21137"/>
                </a:cubicBezTo>
                <a:cubicBezTo>
                  <a:pt x="19887" y="20902"/>
                  <a:pt x="19390" y="20711"/>
                  <a:pt x="16385" y="20634"/>
                </a:cubicBezTo>
                <a:cubicBezTo>
                  <a:pt x="14698" y="20591"/>
                  <a:pt x="14167" y="20420"/>
                  <a:pt x="13699" y="20147"/>
                </a:cubicBezTo>
                <a:cubicBezTo>
                  <a:pt x="13595" y="20086"/>
                  <a:pt x="13495" y="20019"/>
                  <a:pt x="13385" y="19948"/>
                </a:cubicBezTo>
                <a:cubicBezTo>
                  <a:pt x="12768" y="19550"/>
                  <a:pt x="12576" y="19096"/>
                  <a:pt x="12714" y="18452"/>
                </a:cubicBezTo>
                <a:cubicBezTo>
                  <a:pt x="12940" y="18586"/>
                  <a:pt x="13246" y="18739"/>
                  <a:pt x="13768" y="18907"/>
                </a:cubicBezTo>
                <a:cubicBezTo>
                  <a:pt x="14026" y="18990"/>
                  <a:pt x="14229" y="19055"/>
                  <a:pt x="14387" y="19103"/>
                </a:cubicBezTo>
                <a:cubicBezTo>
                  <a:pt x="14718" y="19204"/>
                  <a:pt x="14756" y="19148"/>
                  <a:pt x="14448" y="18996"/>
                </a:cubicBezTo>
                <a:cubicBezTo>
                  <a:pt x="14310" y="18927"/>
                  <a:pt x="14136" y="18847"/>
                  <a:pt x="13924" y="18757"/>
                </a:cubicBezTo>
                <a:cubicBezTo>
                  <a:pt x="13422" y="18545"/>
                  <a:pt x="13119" y="18362"/>
                  <a:pt x="12941" y="18215"/>
                </a:cubicBezTo>
                <a:cubicBezTo>
                  <a:pt x="12815" y="18111"/>
                  <a:pt x="12817" y="17995"/>
                  <a:pt x="12861" y="17841"/>
                </a:cubicBezTo>
                <a:cubicBezTo>
                  <a:pt x="13045" y="17192"/>
                  <a:pt x="12987" y="16619"/>
                  <a:pt x="12841" y="16173"/>
                </a:cubicBezTo>
                <a:cubicBezTo>
                  <a:pt x="13133" y="16304"/>
                  <a:pt x="13524" y="16411"/>
                  <a:pt x="14010" y="16486"/>
                </a:cubicBezTo>
                <a:cubicBezTo>
                  <a:pt x="14129" y="16505"/>
                  <a:pt x="14507" y="16582"/>
                  <a:pt x="14674" y="16652"/>
                </a:cubicBezTo>
                <a:cubicBezTo>
                  <a:pt x="15318" y="16923"/>
                  <a:pt x="15817" y="17260"/>
                  <a:pt x="15779" y="18137"/>
                </a:cubicBezTo>
                <a:cubicBezTo>
                  <a:pt x="15748" y="18833"/>
                  <a:pt x="16094" y="19500"/>
                  <a:pt x="16624" y="19732"/>
                </a:cubicBezTo>
                <a:cubicBezTo>
                  <a:pt x="17009" y="19900"/>
                  <a:pt x="17457" y="19989"/>
                  <a:pt x="17826" y="20007"/>
                </a:cubicBezTo>
                <a:cubicBezTo>
                  <a:pt x="18282" y="20029"/>
                  <a:pt x="18275" y="19998"/>
                  <a:pt x="17842" y="19914"/>
                </a:cubicBezTo>
                <a:cubicBezTo>
                  <a:pt x="17522" y="19852"/>
                  <a:pt x="17146" y="19737"/>
                  <a:pt x="16799" y="19558"/>
                </a:cubicBezTo>
                <a:cubicBezTo>
                  <a:pt x="16345" y="19324"/>
                  <a:pt x="16274" y="18557"/>
                  <a:pt x="16302" y="18157"/>
                </a:cubicBezTo>
                <a:cubicBezTo>
                  <a:pt x="16346" y="17524"/>
                  <a:pt x="15998" y="17181"/>
                  <a:pt x="16144" y="16858"/>
                </a:cubicBezTo>
                <a:cubicBezTo>
                  <a:pt x="16176" y="16787"/>
                  <a:pt x="16410" y="16766"/>
                  <a:pt x="16544" y="16747"/>
                </a:cubicBezTo>
                <a:cubicBezTo>
                  <a:pt x="16965" y="16688"/>
                  <a:pt x="17309" y="16751"/>
                  <a:pt x="17693" y="16831"/>
                </a:cubicBezTo>
                <a:cubicBezTo>
                  <a:pt x="17879" y="16869"/>
                  <a:pt x="18038" y="16957"/>
                  <a:pt x="18123" y="17033"/>
                </a:cubicBezTo>
                <a:cubicBezTo>
                  <a:pt x="18323" y="17212"/>
                  <a:pt x="18596" y="17538"/>
                  <a:pt x="19358" y="17958"/>
                </a:cubicBezTo>
                <a:cubicBezTo>
                  <a:pt x="19609" y="18097"/>
                  <a:pt x="19810" y="18200"/>
                  <a:pt x="19966" y="18282"/>
                </a:cubicBezTo>
                <a:cubicBezTo>
                  <a:pt x="20127" y="18366"/>
                  <a:pt x="20223" y="18398"/>
                  <a:pt x="20244" y="18384"/>
                </a:cubicBezTo>
                <a:cubicBezTo>
                  <a:pt x="20266" y="18370"/>
                  <a:pt x="20214" y="18309"/>
                  <a:pt x="20079" y="18207"/>
                </a:cubicBezTo>
                <a:cubicBezTo>
                  <a:pt x="19944" y="18104"/>
                  <a:pt x="19770" y="17978"/>
                  <a:pt x="19552" y="17833"/>
                </a:cubicBezTo>
                <a:cubicBezTo>
                  <a:pt x="18902" y="17397"/>
                  <a:pt x="18659" y="17090"/>
                  <a:pt x="18564" y="16912"/>
                </a:cubicBezTo>
                <a:cubicBezTo>
                  <a:pt x="19161" y="16862"/>
                  <a:pt x="19727" y="16952"/>
                  <a:pt x="20219" y="17149"/>
                </a:cubicBezTo>
                <a:cubicBezTo>
                  <a:pt x="20317" y="17189"/>
                  <a:pt x="20408" y="17229"/>
                  <a:pt x="20500" y="17266"/>
                </a:cubicBezTo>
                <a:cubicBezTo>
                  <a:pt x="20590" y="17303"/>
                  <a:pt x="20681" y="17338"/>
                  <a:pt x="20761" y="17383"/>
                </a:cubicBezTo>
                <a:cubicBezTo>
                  <a:pt x="20921" y="17475"/>
                  <a:pt x="21037" y="17595"/>
                  <a:pt x="21127" y="17717"/>
                </a:cubicBezTo>
                <a:cubicBezTo>
                  <a:pt x="21176" y="17784"/>
                  <a:pt x="21246" y="17839"/>
                  <a:pt x="21330" y="17817"/>
                </a:cubicBezTo>
                <a:cubicBezTo>
                  <a:pt x="21421" y="17793"/>
                  <a:pt x="21412" y="17752"/>
                  <a:pt x="21386" y="17709"/>
                </a:cubicBezTo>
                <a:cubicBezTo>
                  <a:pt x="20598" y="16392"/>
                  <a:pt x="16566" y="16603"/>
                  <a:pt x="14481" y="16123"/>
                </a:cubicBezTo>
                <a:cubicBezTo>
                  <a:pt x="13848" y="15977"/>
                  <a:pt x="13311" y="15668"/>
                  <a:pt x="12963" y="15255"/>
                </a:cubicBezTo>
                <a:cubicBezTo>
                  <a:pt x="12558" y="14774"/>
                  <a:pt x="12448" y="14203"/>
                  <a:pt x="12353" y="13643"/>
                </a:cubicBezTo>
                <a:cubicBezTo>
                  <a:pt x="12236" y="12949"/>
                  <a:pt x="12129" y="12254"/>
                  <a:pt x="12095" y="11554"/>
                </a:cubicBezTo>
                <a:cubicBezTo>
                  <a:pt x="12059" y="10808"/>
                  <a:pt x="12114" y="10048"/>
                  <a:pt x="12483" y="9350"/>
                </a:cubicBezTo>
                <a:cubicBezTo>
                  <a:pt x="12511" y="9296"/>
                  <a:pt x="12542" y="9242"/>
                  <a:pt x="12599" y="9202"/>
                </a:cubicBezTo>
                <a:cubicBezTo>
                  <a:pt x="12674" y="9151"/>
                  <a:pt x="12777" y="9132"/>
                  <a:pt x="12879" y="9126"/>
                </a:cubicBezTo>
                <a:cubicBezTo>
                  <a:pt x="13228" y="9103"/>
                  <a:pt x="13560" y="9204"/>
                  <a:pt x="13890" y="9286"/>
                </a:cubicBezTo>
                <a:cubicBezTo>
                  <a:pt x="14318" y="9393"/>
                  <a:pt x="14758" y="9469"/>
                  <a:pt x="15206" y="9514"/>
                </a:cubicBezTo>
                <a:cubicBezTo>
                  <a:pt x="15263" y="9488"/>
                  <a:pt x="15311" y="9444"/>
                  <a:pt x="15325" y="9397"/>
                </a:cubicBezTo>
                <a:cubicBezTo>
                  <a:pt x="15326" y="9394"/>
                  <a:pt x="15325" y="9393"/>
                  <a:pt x="15325" y="9391"/>
                </a:cubicBezTo>
                <a:cubicBezTo>
                  <a:pt x="14595" y="9305"/>
                  <a:pt x="13877" y="9163"/>
                  <a:pt x="13199" y="8946"/>
                </a:cubicBezTo>
                <a:cubicBezTo>
                  <a:pt x="13144" y="8928"/>
                  <a:pt x="13088" y="8910"/>
                  <a:pt x="13033" y="8891"/>
                </a:cubicBezTo>
                <a:cubicBezTo>
                  <a:pt x="12969" y="8870"/>
                  <a:pt x="12905" y="8848"/>
                  <a:pt x="12841" y="8827"/>
                </a:cubicBezTo>
                <a:cubicBezTo>
                  <a:pt x="12922" y="8758"/>
                  <a:pt x="13006" y="8692"/>
                  <a:pt x="13094" y="8628"/>
                </a:cubicBezTo>
                <a:cubicBezTo>
                  <a:pt x="13271" y="8500"/>
                  <a:pt x="13460" y="8380"/>
                  <a:pt x="13657" y="8269"/>
                </a:cubicBezTo>
                <a:cubicBezTo>
                  <a:pt x="14961" y="7529"/>
                  <a:pt x="16495" y="7033"/>
                  <a:pt x="18122" y="6825"/>
                </a:cubicBezTo>
                <a:cubicBezTo>
                  <a:pt x="18149" y="6767"/>
                  <a:pt x="18151" y="6695"/>
                  <a:pt x="18095" y="6651"/>
                </a:cubicBezTo>
                <a:cubicBezTo>
                  <a:pt x="18093" y="6649"/>
                  <a:pt x="18091" y="6648"/>
                  <a:pt x="18089" y="6647"/>
                </a:cubicBezTo>
                <a:cubicBezTo>
                  <a:pt x="18087" y="6645"/>
                  <a:pt x="18085" y="6644"/>
                  <a:pt x="18084" y="6643"/>
                </a:cubicBezTo>
                <a:cubicBezTo>
                  <a:pt x="17107" y="6775"/>
                  <a:pt x="16155" y="6982"/>
                  <a:pt x="15242" y="7266"/>
                </a:cubicBezTo>
                <a:cubicBezTo>
                  <a:pt x="14744" y="7420"/>
                  <a:pt x="14261" y="7603"/>
                  <a:pt x="13793" y="7799"/>
                </a:cubicBezTo>
                <a:cubicBezTo>
                  <a:pt x="13823" y="7728"/>
                  <a:pt x="13855" y="7656"/>
                  <a:pt x="13888" y="7585"/>
                </a:cubicBezTo>
                <a:cubicBezTo>
                  <a:pt x="14139" y="7044"/>
                  <a:pt x="14487" y="6528"/>
                  <a:pt x="14917" y="6044"/>
                </a:cubicBezTo>
                <a:cubicBezTo>
                  <a:pt x="14913" y="6043"/>
                  <a:pt x="14910" y="6043"/>
                  <a:pt x="14906" y="6042"/>
                </a:cubicBezTo>
                <a:cubicBezTo>
                  <a:pt x="14845" y="6032"/>
                  <a:pt x="14781" y="6028"/>
                  <a:pt x="14726" y="6050"/>
                </a:cubicBezTo>
                <a:cubicBezTo>
                  <a:pt x="14419" y="6353"/>
                  <a:pt x="14162" y="6679"/>
                  <a:pt x="13954" y="7023"/>
                </a:cubicBezTo>
                <a:cubicBezTo>
                  <a:pt x="13780" y="7312"/>
                  <a:pt x="13639" y="7615"/>
                  <a:pt x="13383" y="7870"/>
                </a:cubicBezTo>
                <a:cubicBezTo>
                  <a:pt x="13287" y="7965"/>
                  <a:pt x="13177" y="8051"/>
                  <a:pt x="13063" y="8135"/>
                </a:cubicBezTo>
                <a:cubicBezTo>
                  <a:pt x="12920" y="8240"/>
                  <a:pt x="12771" y="8341"/>
                  <a:pt x="12611" y="8432"/>
                </a:cubicBezTo>
                <a:cubicBezTo>
                  <a:pt x="12403" y="8551"/>
                  <a:pt x="12178" y="8652"/>
                  <a:pt x="11937" y="8732"/>
                </a:cubicBezTo>
                <a:cubicBezTo>
                  <a:pt x="11801" y="8266"/>
                  <a:pt x="11738" y="7792"/>
                  <a:pt x="11748" y="7316"/>
                </a:cubicBezTo>
                <a:cubicBezTo>
                  <a:pt x="11760" y="6754"/>
                  <a:pt x="11880" y="6182"/>
                  <a:pt x="12314" y="5717"/>
                </a:cubicBezTo>
                <a:cubicBezTo>
                  <a:pt x="12650" y="5356"/>
                  <a:pt x="13142" y="5097"/>
                  <a:pt x="13657" y="4877"/>
                </a:cubicBezTo>
                <a:cubicBezTo>
                  <a:pt x="14973" y="4315"/>
                  <a:pt x="16452" y="3987"/>
                  <a:pt x="17975" y="3917"/>
                </a:cubicBezTo>
                <a:cubicBezTo>
                  <a:pt x="17974" y="3915"/>
                  <a:pt x="17972" y="3913"/>
                  <a:pt x="17970" y="3911"/>
                </a:cubicBezTo>
                <a:cubicBezTo>
                  <a:pt x="17934" y="3872"/>
                  <a:pt x="17888" y="3840"/>
                  <a:pt x="17842" y="3808"/>
                </a:cubicBezTo>
                <a:cubicBezTo>
                  <a:pt x="17453" y="3822"/>
                  <a:pt x="17066" y="3854"/>
                  <a:pt x="16685" y="3901"/>
                </a:cubicBezTo>
                <a:cubicBezTo>
                  <a:pt x="16304" y="3948"/>
                  <a:pt x="15927" y="4010"/>
                  <a:pt x="15555" y="4089"/>
                </a:cubicBezTo>
                <a:cubicBezTo>
                  <a:pt x="15855" y="3706"/>
                  <a:pt x="16144" y="3318"/>
                  <a:pt x="16421" y="2926"/>
                </a:cubicBezTo>
                <a:cubicBezTo>
                  <a:pt x="16698" y="2535"/>
                  <a:pt x="16964" y="2139"/>
                  <a:pt x="17218" y="1739"/>
                </a:cubicBezTo>
                <a:lnTo>
                  <a:pt x="17126" y="1691"/>
                </a:lnTo>
                <a:cubicBezTo>
                  <a:pt x="16854" y="2039"/>
                  <a:pt x="16595" y="2392"/>
                  <a:pt x="16349" y="2750"/>
                </a:cubicBezTo>
                <a:cubicBezTo>
                  <a:pt x="16056" y="3176"/>
                  <a:pt x="15779" y="3611"/>
                  <a:pt x="15381" y="3990"/>
                </a:cubicBezTo>
                <a:cubicBezTo>
                  <a:pt x="15295" y="4071"/>
                  <a:pt x="15202" y="4151"/>
                  <a:pt x="15078" y="4200"/>
                </a:cubicBezTo>
                <a:cubicBezTo>
                  <a:pt x="15018" y="4224"/>
                  <a:pt x="14952" y="4240"/>
                  <a:pt x="14887" y="4257"/>
                </a:cubicBezTo>
                <a:cubicBezTo>
                  <a:pt x="14280" y="4410"/>
                  <a:pt x="13703" y="4612"/>
                  <a:pt x="13152" y="4855"/>
                </a:cubicBezTo>
                <a:cubicBezTo>
                  <a:pt x="12733" y="5040"/>
                  <a:pt x="12332" y="5247"/>
                  <a:pt x="11953" y="5474"/>
                </a:cubicBezTo>
                <a:cubicBezTo>
                  <a:pt x="11976" y="5255"/>
                  <a:pt x="11993" y="5037"/>
                  <a:pt x="12012" y="4819"/>
                </a:cubicBezTo>
                <a:cubicBezTo>
                  <a:pt x="12038" y="4506"/>
                  <a:pt x="12064" y="4186"/>
                  <a:pt x="12136" y="3880"/>
                </a:cubicBezTo>
                <a:cubicBezTo>
                  <a:pt x="12207" y="3583"/>
                  <a:pt x="12322" y="3298"/>
                  <a:pt x="12508" y="3025"/>
                </a:cubicBezTo>
                <a:cubicBezTo>
                  <a:pt x="12650" y="2817"/>
                  <a:pt x="12827" y="2626"/>
                  <a:pt x="13041" y="2459"/>
                </a:cubicBezTo>
                <a:cubicBezTo>
                  <a:pt x="13258" y="2289"/>
                  <a:pt x="13513" y="2145"/>
                  <a:pt x="13796" y="2034"/>
                </a:cubicBezTo>
                <a:cubicBezTo>
                  <a:pt x="13794" y="2032"/>
                  <a:pt x="13792" y="2030"/>
                  <a:pt x="13790" y="2028"/>
                </a:cubicBezTo>
                <a:cubicBezTo>
                  <a:pt x="13758" y="1993"/>
                  <a:pt x="13725" y="1960"/>
                  <a:pt x="13691" y="1925"/>
                </a:cubicBezTo>
                <a:cubicBezTo>
                  <a:pt x="13433" y="2049"/>
                  <a:pt x="13188" y="2186"/>
                  <a:pt x="12958" y="2336"/>
                </a:cubicBezTo>
                <a:cubicBezTo>
                  <a:pt x="12682" y="2515"/>
                  <a:pt x="12430" y="2713"/>
                  <a:pt x="12203" y="2926"/>
                </a:cubicBezTo>
                <a:cubicBezTo>
                  <a:pt x="12240" y="2518"/>
                  <a:pt x="12280" y="2109"/>
                  <a:pt x="12322" y="1701"/>
                </a:cubicBezTo>
                <a:cubicBezTo>
                  <a:pt x="12363" y="1307"/>
                  <a:pt x="12405" y="913"/>
                  <a:pt x="12450" y="520"/>
                </a:cubicBezTo>
                <a:lnTo>
                  <a:pt x="12089" y="526"/>
                </a:lnTo>
                <a:cubicBezTo>
                  <a:pt x="12049" y="823"/>
                  <a:pt x="12006" y="1121"/>
                  <a:pt x="11959" y="1418"/>
                </a:cubicBezTo>
                <a:cubicBezTo>
                  <a:pt x="11912" y="1714"/>
                  <a:pt x="11862" y="2011"/>
                  <a:pt x="11809" y="2307"/>
                </a:cubicBezTo>
                <a:cubicBezTo>
                  <a:pt x="11744" y="2273"/>
                  <a:pt x="11677" y="2239"/>
                  <a:pt x="11612" y="2204"/>
                </a:cubicBezTo>
                <a:cubicBezTo>
                  <a:pt x="10518" y="1616"/>
                  <a:pt x="9605" y="867"/>
                  <a:pt x="8915" y="14"/>
                </a:cubicBezTo>
                <a:close/>
              </a:path>
            </a:pathLst>
          </a:custGeom>
          <a:gradFill flip="none" rotWithShape="1">
            <a:gsLst>
              <a:gs pos="98000">
                <a:schemeClr val="accent2">
                  <a:shade val="30000"/>
                  <a:satMod val="115000"/>
                </a:schemeClr>
              </a:gs>
              <a:gs pos="39831">
                <a:schemeClr val="accent6"/>
              </a:gs>
              <a:gs pos="71000">
                <a:schemeClr val="accent2">
                  <a:shade val="67500"/>
                  <a:satMod val="115000"/>
                </a:schemeClr>
              </a:gs>
              <a:gs pos="0">
                <a:schemeClr val="accent6"/>
              </a:gs>
            </a:gsLst>
            <a:lin ang="5400000" scaled="0"/>
            <a:tileRect/>
          </a:gra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5" name="Shape 24628">
            <a:extLst>
              <a:ext uri="{FF2B5EF4-FFF2-40B4-BE49-F238E27FC236}">
                <a16:creationId xmlns:a16="http://schemas.microsoft.com/office/drawing/2014/main" xmlns="" id="{E9F764DC-6D0B-4F6B-A686-D1D05677FF67}"/>
              </a:ext>
            </a:extLst>
          </p:cNvPr>
          <p:cNvSpPr/>
          <p:nvPr/>
        </p:nvSpPr>
        <p:spPr>
          <a:xfrm rot="1680000">
            <a:off x="7686471" y="378338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26" name="Shape 24629">
            <a:extLst>
              <a:ext uri="{FF2B5EF4-FFF2-40B4-BE49-F238E27FC236}">
                <a16:creationId xmlns:a16="http://schemas.microsoft.com/office/drawing/2014/main" xmlns="" id="{38DD390E-BFF5-48EB-B3C6-E83FF2D02B5A}"/>
              </a:ext>
            </a:extLst>
          </p:cNvPr>
          <p:cNvSpPr/>
          <p:nvPr/>
        </p:nvSpPr>
        <p:spPr>
          <a:xfrm rot="4320000">
            <a:off x="7497987" y="390260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27" name="Shape 24630">
            <a:extLst>
              <a:ext uri="{FF2B5EF4-FFF2-40B4-BE49-F238E27FC236}">
                <a16:creationId xmlns:a16="http://schemas.microsoft.com/office/drawing/2014/main" xmlns="" id="{D8BDD7CD-33EC-41CB-8C78-0B4F60DFCACB}"/>
              </a:ext>
            </a:extLst>
          </p:cNvPr>
          <p:cNvSpPr/>
          <p:nvPr/>
        </p:nvSpPr>
        <p:spPr>
          <a:xfrm rot="18060000">
            <a:off x="7542006" y="356223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4" name="Shape 24631">
            <a:extLst>
              <a:ext uri="{FF2B5EF4-FFF2-40B4-BE49-F238E27FC236}">
                <a16:creationId xmlns:a16="http://schemas.microsoft.com/office/drawing/2014/main" xmlns="" id="{F8F67B29-8BC3-4F4C-8CF1-1FE75E0E0542}"/>
              </a:ext>
            </a:extLst>
          </p:cNvPr>
          <p:cNvSpPr/>
          <p:nvPr/>
        </p:nvSpPr>
        <p:spPr>
          <a:xfrm rot="3840000">
            <a:off x="7772139" y="3501423"/>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5" name="Shape 24632">
            <a:extLst>
              <a:ext uri="{FF2B5EF4-FFF2-40B4-BE49-F238E27FC236}">
                <a16:creationId xmlns:a16="http://schemas.microsoft.com/office/drawing/2014/main" xmlns="" id="{DD99CF3C-C7BC-4ED4-B5F8-B758A06778EF}"/>
              </a:ext>
            </a:extLst>
          </p:cNvPr>
          <p:cNvSpPr/>
          <p:nvPr/>
        </p:nvSpPr>
        <p:spPr>
          <a:xfrm rot="2160000">
            <a:off x="7973854" y="341729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6" name="Shape 24633">
            <a:extLst>
              <a:ext uri="{FF2B5EF4-FFF2-40B4-BE49-F238E27FC236}">
                <a16:creationId xmlns:a16="http://schemas.microsoft.com/office/drawing/2014/main" xmlns="" id="{A343D25A-BF95-4BDE-B20A-6C0AD1FB4ED3}"/>
              </a:ext>
            </a:extLst>
          </p:cNvPr>
          <p:cNvSpPr/>
          <p:nvPr/>
        </p:nvSpPr>
        <p:spPr>
          <a:xfrm rot="20340000">
            <a:off x="8100113" y="32118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7" name="Shape 24634">
            <a:extLst>
              <a:ext uri="{FF2B5EF4-FFF2-40B4-BE49-F238E27FC236}">
                <a16:creationId xmlns:a16="http://schemas.microsoft.com/office/drawing/2014/main" xmlns="" id="{DFE698D9-D36B-4D4D-8590-A25D8193D3FA}"/>
              </a:ext>
            </a:extLst>
          </p:cNvPr>
          <p:cNvSpPr/>
          <p:nvPr/>
        </p:nvSpPr>
        <p:spPr>
          <a:xfrm rot="5640000" flipH="1">
            <a:off x="7692231" y="315261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8" name="Shape 24635">
            <a:extLst>
              <a:ext uri="{FF2B5EF4-FFF2-40B4-BE49-F238E27FC236}">
                <a16:creationId xmlns:a16="http://schemas.microsoft.com/office/drawing/2014/main" xmlns="" id="{71FAB982-CF2A-42CB-887E-49A68893E2BE}"/>
              </a:ext>
            </a:extLst>
          </p:cNvPr>
          <p:cNvSpPr/>
          <p:nvPr/>
        </p:nvSpPr>
        <p:spPr>
          <a:xfrm rot="5820000" flipH="1">
            <a:off x="7892730" y="310041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9" name="Shape 24636">
            <a:extLst>
              <a:ext uri="{FF2B5EF4-FFF2-40B4-BE49-F238E27FC236}">
                <a16:creationId xmlns:a16="http://schemas.microsoft.com/office/drawing/2014/main" xmlns="" id="{FB773E6F-4D1B-4295-934C-081D9A4433EF}"/>
              </a:ext>
            </a:extLst>
          </p:cNvPr>
          <p:cNvSpPr/>
          <p:nvPr/>
        </p:nvSpPr>
        <p:spPr>
          <a:xfrm rot="6000000" flipH="1">
            <a:off x="7484759" y="31712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0" name="Shape 24637">
            <a:extLst>
              <a:ext uri="{FF2B5EF4-FFF2-40B4-BE49-F238E27FC236}">
                <a16:creationId xmlns:a16="http://schemas.microsoft.com/office/drawing/2014/main" xmlns="" id="{956D605F-D183-4380-9DC4-C9452CCC65C4}"/>
              </a:ext>
            </a:extLst>
          </p:cNvPr>
          <p:cNvSpPr/>
          <p:nvPr/>
        </p:nvSpPr>
        <p:spPr>
          <a:xfrm rot="6300000" flipH="1">
            <a:off x="7826087" y="235428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1" name="Shape 24638">
            <a:extLst>
              <a:ext uri="{FF2B5EF4-FFF2-40B4-BE49-F238E27FC236}">
                <a16:creationId xmlns:a16="http://schemas.microsoft.com/office/drawing/2014/main" xmlns="" id="{E53162DA-B56F-4CA3-B892-2CBD0786BBEC}"/>
              </a:ext>
            </a:extLst>
          </p:cNvPr>
          <p:cNvSpPr/>
          <p:nvPr/>
        </p:nvSpPr>
        <p:spPr>
          <a:xfrm rot="21180000">
            <a:off x="8030470" y="271389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4" name="Shape 24639">
            <a:extLst>
              <a:ext uri="{FF2B5EF4-FFF2-40B4-BE49-F238E27FC236}">
                <a16:creationId xmlns:a16="http://schemas.microsoft.com/office/drawing/2014/main" xmlns="" id="{14F9313A-CD82-49BE-9221-07439E4E5164}"/>
              </a:ext>
            </a:extLst>
          </p:cNvPr>
          <p:cNvSpPr/>
          <p:nvPr/>
        </p:nvSpPr>
        <p:spPr>
          <a:xfrm rot="1800000">
            <a:off x="7891141" y="2866866"/>
            <a:ext cx="211185" cy="140686"/>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6" name="Shape 24640">
            <a:extLst>
              <a:ext uri="{FF2B5EF4-FFF2-40B4-BE49-F238E27FC236}">
                <a16:creationId xmlns:a16="http://schemas.microsoft.com/office/drawing/2014/main" xmlns="" id="{9C1990ED-4477-4B54-A72A-1914F515A6DE}"/>
              </a:ext>
            </a:extLst>
          </p:cNvPr>
          <p:cNvSpPr/>
          <p:nvPr/>
        </p:nvSpPr>
        <p:spPr>
          <a:xfrm rot="1800000">
            <a:off x="7704155" y="292909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8" name="Shape 24641">
            <a:extLst>
              <a:ext uri="{FF2B5EF4-FFF2-40B4-BE49-F238E27FC236}">
                <a16:creationId xmlns:a16="http://schemas.microsoft.com/office/drawing/2014/main" xmlns="" id="{89809A11-F607-48E0-BB80-1C88F305A6E8}"/>
              </a:ext>
            </a:extLst>
          </p:cNvPr>
          <p:cNvSpPr/>
          <p:nvPr/>
        </p:nvSpPr>
        <p:spPr>
          <a:xfrm rot="6360000" flipH="1">
            <a:off x="7834317" y="2634270"/>
            <a:ext cx="200665" cy="133678"/>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50" name="Shape 24642">
            <a:extLst>
              <a:ext uri="{FF2B5EF4-FFF2-40B4-BE49-F238E27FC236}">
                <a16:creationId xmlns:a16="http://schemas.microsoft.com/office/drawing/2014/main" xmlns="" id="{F8FECA49-D786-4CDA-8FDF-4E698DF55897}"/>
              </a:ext>
            </a:extLst>
          </p:cNvPr>
          <p:cNvSpPr/>
          <p:nvPr/>
        </p:nvSpPr>
        <p:spPr>
          <a:xfrm rot="1800000">
            <a:off x="7559815" y="2978170"/>
            <a:ext cx="128976" cy="8592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53" name="Shape 24643">
            <a:extLst>
              <a:ext uri="{FF2B5EF4-FFF2-40B4-BE49-F238E27FC236}">
                <a16:creationId xmlns:a16="http://schemas.microsoft.com/office/drawing/2014/main" xmlns="" id="{D203D837-0909-4B83-B2BF-3047077902DE}"/>
              </a:ext>
            </a:extLst>
          </p:cNvPr>
          <p:cNvSpPr/>
          <p:nvPr/>
        </p:nvSpPr>
        <p:spPr>
          <a:xfrm rot="6000000" flipH="1">
            <a:off x="7503742" y="265382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56" name="Shape 24644">
            <a:extLst>
              <a:ext uri="{FF2B5EF4-FFF2-40B4-BE49-F238E27FC236}">
                <a16:creationId xmlns:a16="http://schemas.microsoft.com/office/drawing/2014/main" xmlns="" id="{3779B7D5-9BC8-431A-A708-C9025C725FEA}"/>
              </a:ext>
            </a:extLst>
          </p:cNvPr>
          <p:cNvSpPr/>
          <p:nvPr/>
        </p:nvSpPr>
        <p:spPr>
          <a:xfrm rot="4440000" flipH="1">
            <a:off x="7291313" y="27532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24645">
            <a:extLst>
              <a:ext uri="{FF2B5EF4-FFF2-40B4-BE49-F238E27FC236}">
                <a16:creationId xmlns:a16="http://schemas.microsoft.com/office/drawing/2014/main" xmlns="" id="{F1F1B2A8-E0C1-4032-95E1-E2C49E0019A5}"/>
              </a:ext>
            </a:extLst>
          </p:cNvPr>
          <p:cNvSpPr/>
          <p:nvPr/>
        </p:nvSpPr>
        <p:spPr>
          <a:xfrm rot="5340000" flipH="1">
            <a:off x="7200612" y="1992265"/>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24646">
            <a:extLst>
              <a:ext uri="{FF2B5EF4-FFF2-40B4-BE49-F238E27FC236}">
                <a16:creationId xmlns:a16="http://schemas.microsoft.com/office/drawing/2014/main" xmlns="" id="{3EDA5EE3-AFBC-460C-957D-88F875CF5E0B}"/>
              </a:ext>
            </a:extLst>
          </p:cNvPr>
          <p:cNvSpPr/>
          <p:nvPr/>
        </p:nvSpPr>
        <p:spPr>
          <a:xfrm rot="6900000" flipH="1">
            <a:off x="7335820"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9" name="Shape 24647">
            <a:extLst>
              <a:ext uri="{FF2B5EF4-FFF2-40B4-BE49-F238E27FC236}">
                <a16:creationId xmlns:a16="http://schemas.microsoft.com/office/drawing/2014/main" xmlns="" id="{1850B5B3-C1D3-4AFA-A9F2-DAB6EDA9AE3B}"/>
              </a:ext>
            </a:extLst>
          </p:cNvPr>
          <p:cNvSpPr/>
          <p:nvPr/>
        </p:nvSpPr>
        <p:spPr>
          <a:xfrm rot="8400000" flipH="1">
            <a:off x="7494860" y="230972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60" name="Shape 24648">
            <a:extLst>
              <a:ext uri="{FF2B5EF4-FFF2-40B4-BE49-F238E27FC236}">
                <a16:creationId xmlns:a16="http://schemas.microsoft.com/office/drawing/2014/main" xmlns="" id="{999AD146-1DAE-430B-8247-368D10D23E63}"/>
              </a:ext>
            </a:extLst>
          </p:cNvPr>
          <p:cNvSpPr/>
          <p:nvPr/>
        </p:nvSpPr>
        <p:spPr>
          <a:xfrm rot="14700000">
            <a:off x="7056528"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1" name="Shape 24649">
            <a:extLst>
              <a:ext uri="{FF2B5EF4-FFF2-40B4-BE49-F238E27FC236}">
                <a16:creationId xmlns:a16="http://schemas.microsoft.com/office/drawing/2014/main" xmlns="" id="{97C17419-6E1F-49E1-A7AF-BDD79A55A28E}"/>
              </a:ext>
            </a:extLst>
          </p:cNvPr>
          <p:cNvSpPr/>
          <p:nvPr/>
        </p:nvSpPr>
        <p:spPr>
          <a:xfrm rot="5160000" flipH="1">
            <a:off x="7402450" y="2565800"/>
            <a:ext cx="187583" cy="124963"/>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6" name="Shape 24650">
            <a:extLst>
              <a:ext uri="{FF2B5EF4-FFF2-40B4-BE49-F238E27FC236}">
                <a16:creationId xmlns:a16="http://schemas.microsoft.com/office/drawing/2014/main" xmlns="" id="{85B1BB0A-3EF7-4D95-8AF2-10F1EC5500CB}"/>
              </a:ext>
            </a:extLst>
          </p:cNvPr>
          <p:cNvSpPr/>
          <p:nvPr/>
        </p:nvSpPr>
        <p:spPr>
          <a:xfrm rot="3480000" flipH="1">
            <a:off x="6784026" y="210353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7" name="Shape 24651">
            <a:extLst>
              <a:ext uri="{FF2B5EF4-FFF2-40B4-BE49-F238E27FC236}">
                <a16:creationId xmlns:a16="http://schemas.microsoft.com/office/drawing/2014/main" xmlns="" id="{9F069FC5-7358-4978-816B-2EBC1239FA69}"/>
              </a:ext>
            </a:extLst>
          </p:cNvPr>
          <p:cNvSpPr/>
          <p:nvPr/>
        </p:nvSpPr>
        <p:spPr>
          <a:xfrm rot="2580000" flipH="1">
            <a:off x="6521680" y="241047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8" name="Shape 24652">
            <a:extLst>
              <a:ext uri="{FF2B5EF4-FFF2-40B4-BE49-F238E27FC236}">
                <a16:creationId xmlns:a16="http://schemas.microsoft.com/office/drawing/2014/main" xmlns="" id="{6690FB9B-DBD6-4373-A09B-E1743629BAE0}"/>
              </a:ext>
            </a:extLst>
          </p:cNvPr>
          <p:cNvSpPr/>
          <p:nvPr/>
        </p:nvSpPr>
        <p:spPr>
          <a:xfrm rot="5520000" flipH="1">
            <a:off x="6758325" y="23997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9" name="Shape 24653">
            <a:extLst>
              <a:ext uri="{FF2B5EF4-FFF2-40B4-BE49-F238E27FC236}">
                <a16:creationId xmlns:a16="http://schemas.microsoft.com/office/drawing/2014/main" xmlns="" id="{9FB12439-FB66-4FD2-882A-DFB109F4089B}"/>
              </a:ext>
            </a:extLst>
          </p:cNvPr>
          <p:cNvSpPr/>
          <p:nvPr/>
        </p:nvSpPr>
        <p:spPr>
          <a:xfrm rot="20880000" flipH="1">
            <a:off x="6548897" y="2661329"/>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0" name="Shape 24654">
            <a:extLst>
              <a:ext uri="{FF2B5EF4-FFF2-40B4-BE49-F238E27FC236}">
                <a16:creationId xmlns:a16="http://schemas.microsoft.com/office/drawing/2014/main" xmlns="" id="{614163D5-141B-4996-BAFC-22D08B82781B}"/>
              </a:ext>
            </a:extLst>
          </p:cNvPr>
          <p:cNvSpPr/>
          <p:nvPr/>
        </p:nvSpPr>
        <p:spPr>
          <a:xfrm rot="20880000" flipH="1">
            <a:off x="6885014" y="2900686"/>
            <a:ext cx="208807"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1" name="Shape 24655">
            <a:extLst>
              <a:ext uri="{FF2B5EF4-FFF2-40B4-BE49-F238E27FC236}">
                <a16:creationId xmlns:a16="http://schemas.microsoft.com/office/drawing/2014/main" xmlns="" id="{D76D1C52-BF24-49FE-8394-2770D824B44D}"/>
              </a:ext>
            </a:extLst>
          </p:cNvPr>
          <p:cNvSpPr/>
          <p:nvPr/>
        </p:nvSpPr>
        <p:spPr>
          <a:xfrm rot="17100000">
            <a:off x="7055926" y="2680546"/>
            <a:ext cx="208808"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2" name="Shape 24656">
            <a:extLst>
              <a:ext uri="{FF2B5EF4-FFF2-40B4-BE49-F238E27FC236}">
                <a16:creationId xmlns:a16="http://schemas.microsoft.com/office/drawing/2014/main" xmlns="" id="{E2131F10-5804-422F-B249-E501C707BC03}"/>
              </a:ext>
            </a:extLst>
          </p:cNvPr>
          <p:cNvSpPr/>
          <p:nvPr/>
        </p:nvSpPr>
        <p:spPr>
          <a:xfrm rot="3780000" flipH="1">
            <a:off x="6522526" y="3051097"/>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3" name="Shape 24657">
            <a:extLst>
              <a:ext uri="{FF2B5EF4-FFF2-40B4-BE49-F238E27FC236}">
                <a16:creationId xmlns:a16="http://schemas.microsoft.com/office/drawing/2014/main" xmlns="" id="{1D161850-90B6-4BAB-AC59-7A4CBE3EB45D}"/>
              </a:ext>
            </a:extLst>
          </p:cNvPr>
          <p:cNvSpPr/>
          <p:nvPr/>
        </p:nvSpPr>
        <p:spPr>
          <a:xfrm rot="5520000" flipH="1">
            <a:off x="6927848" y="2556914"/>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4" name="Shape 24658">
            <a:extLst>
              <a:ext uri="{FF2B5EF4-FFF2-40B4-BE49-F238E27FC236}">
                <a16:creationId xmlns:a16="http://schemas.microsoft.com/office/drawing/2014/main" xmlns="" id="{5E6A3375-E0CA-4B4F-A855-0D27E7E3FD77}"/>
              </a:ext>
            </a:extLst>
          </p:cNvPr>
          <p:cNvSpPr/>
          <p:nvPr/>
        </p:nvSpPr>
        <p:spPr>
          <a:xfrm rot="20880000" flipH="1">
            <a:off x="6744918" y="2778557"/>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5" name="Shape 24659">
            <a:extLst>
              <a:ext uri="{FF2B5EF4-FFF2-40B4-BE49-F238E27FC236}">
                <a16:creationId xmlns:a16="http://schemas.microsoft.com/office/drawing/2014/main" xmlns="" id="{2382AB39-3D2C-43DA-92C6-C7A9BFEEB3D9}"/>
              </a:ext>
            </a:extLst>
          </p:cNvPr>
          <p:cNvSpPr/>
          <p:nvPr/>
        </p:nvSpPr>
        <p:spPr>
          <a:xfrm rot="17820000">
            <a:off x="6816592" y="31283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6" name="Shape 24660">
            <a:extLst>
              <a:ext uri="{FF2B5EF4-FFF2-40B4-BE49-F238E27FC236}">
                <a16:creationId xmlns:a16="http://schemas.microsoft.com/office/drawing/2014/main" xmlns="" id="{AE86585E-F9EE-4480-A649-6290453F09E3}"/>
              </a:ext>
            </a:extLst>
          </p:cNvPr>
          <p:cNvSpPr/>
          <p:nvPr/>
        </p:nvSpPr>
        <p:spPr>
          <a:xfrm rot="2880000" flipH="1">
            <a:off x="6548860" y="3339947"/>
            <a:ext cx="197537" cy="13159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7" name="Shape 24661">
            <a:extLst>
              <a:ext uri="{FF2B5EF4-FFF2-40B4-BE49-F238E27FC236}">
                <a16:creationId xmlns:a16="http://schemas.microsoft.com/office/drawing/2014/main" xmlns="" id="{DD97B76E-60D0-4604-8646-E31BD3760DB8}"/>
              </a:ext>
            </a:extLst>
          </p:cNvPr>
          <p:cNvSpPr/>
          <p:nvPr/>
        </p:nvSpPr>
        <p:spPr>
          <a:xfrm rot="18720000">
            <a:off x="6908749" y="3408999"/>
            <a:ext cx="197537" cy="13159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8" name="Shape 24662">
            <a:extLst>
              <a:ext uri="{FF2B5EF4-FFF2-40B4-BE49-F238E27FC236}">
                <a16:creationId xmlns:a16="http://schemas.microsoft.com/office/drawing/2014/main" xmlns="" id="{58C2B480-ED1E-49AE-8162-F96888F1DA05}"/>
              </a:ext>
            </a:extLst>
          </p:cNvPr>
          <p:cNvSpPr/>
          <p:nvPr/>
        </p:nvSpPr>
        <p:spPr>
          <a:xfrm rot="6000000" flipH="1">
            <a:off x="7251820" y="3383260"/>
            <a:ext cx="224459" cy="149529"/>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9" name="Shape 24663">
            <a:extLst>
              <a:ext uri="{FF2B5EF4-FFF2-40B4-BE49-F238E27FC236}">
                <a16:creationId xmlns:a16="http://schemas.microsoft.com/office/drawing/2014/main" xmlns="" id="{9C069DC7-C174-4968-AB4B-A69E2FDF8E79}"/>
              </a:ext>
            </a:extLst>
          </p:cNvPr>
          <p:cNvSpPr/>
          <p:nvPr/>
        </p:nvSpPr>
        <p:spPr>
          <a:xfrm rot="6000000" flipH="1">
            <a:off x="7325957" y="3155763"/>
            <a:ext cx="191262" cy="12741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0" name="Shape 24666">
            <a:extLst>
              <a:ext uri="{FF2B5EF4-FFF2-40B4-BE49-F238E27FC236}">
                <a16:creationId xmlns:a16="http://schemas.microsoft.com/office/drawing/2014/main" xmlns="" id="{306CB7B5-9C8D-4B43-867C-891CF57C746A}"/>
              </a:ext>
            </a:extLst>
          </p:cNvPr>
          <p:cNvSpPr/>
          <p:nvPr/>
        </p:nvSpPr>
        <p:spPr>
          <a:xfrm rot="20160000" flipH="1">
            <a:off x="6102891" y="3352683"/>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1" name="Shape 24667">
            <a:extLst>
              <a:ext uri="{FF2B5EF4-FFF2-40B4-BE49-F238E27FC236}">
                <a16:creationId xmlns:a16="http://schemas.microsoft.com/office/drawing/2014/main" xmlns="" id="{3D1E4EB8-98C8-49A9-9D08-AAB6E6A7EED3}"/>
              </a:ext>
            </a:extLst>
          </p:cNvPr>
          <p:cNvSpPr/>
          <p:nvPr/>
        </p:nvSpPr>
        <p:spPr>
          <a:xfrm rot="19740000" flipH="1">
            <a:off x="6289576" y="352989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2" name="Shape 24668">
            <a:extLst>
              <a:ext uri="{FF2B5EF4-FFF2-40B4-BE49-F238E27FC236}">
                <a16:creationId xmlns:a16="http://schemas.microsoft.com/office/drawing/2014/main" xmlns="" id="{07EFD013-F052-4DE7-A233-B9CF818D68B6}"/>
              </a:ext>
            </a:extLst>
          </p:cNvPr>
          <p:cNvSpPr/>
          <p:nvPr/>
        </p:nvSpPr>
        <p:spPr>
          <a:xfrm rot="19740000" flipH="1">
            <a:off x="6496482" y="36527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3" name="Shape 24669">
            <a:extLst>
              <a:ext uri="{FF2B5EF4-FFF2-40B4-BE49-F238E27FC236}">
                <a16:creationId xmlns:a16="http://schemas.microsoft.com/office/drawing/2014/main" xmlns="" id="{301796F8-7B89-4DAD-9E09-6F8297AF2ADD}"/>
              </a:ext>
            </a:extLst>
          </p:cNvPr>
          <p:cNvSpPr/>
          <p:nvPr/>
        </p:nvSpPr>
        <p:spPr>
          <a:xfrm rot="5520000" flipH="1">
            <a:off x="6155867" y="298998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4" name="Shape 24670">
            <a:extLst>
              <a:ext uri="{FF2B5EF4-FFF2-40B4-BE49-F238E27FC236}">
                <a16:creationId xmlns:a16="http://schemas.microsoft.com/office/drawing/2014/main" xmlns="" id="{AD2B9F20-7331-4C89-A443-2E75E6CE8405}"/>
              </a:ext>
            </a:extLst>
          </p:cNvPr>
          <p:cNvSpPr/>
          <p:nvPr/>
        </p:nvSpPr>
        <p:spPr>
          <a:xfrm rot="5880000" flipH="1">
            <a:off x="6337224" y="3159001"/>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5" name="Shape 24671">
            <a:extLst>
              <a:ext uri="{FF2B5EF4-FFF2-40B4-BE49-F238E27FC236}">
                <a16:creationId xmlns:a16="http://schemas.microsoft.com/office/drawing/2014/main" xmlns="" id="{9627ECDE-E827-411C-92C2-4427008C23C1}"/>
              </a:ext>
            </a:extLst>
          </p:cNvPr>
          <p:cNvSpPr/>
          <p:nvPr/>
        </p:nvSpPr>
        <p:spPr>
          <a:xfrm rot="19740000" flipH="1">
            <a:off x="5976723" y="353845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6" name="Shape 24672">
            <a:extLst>
              <a:ext uri="{FF2B5EF4-FFF2-40B4-BE49-F238E27FC236}">
                <a16:creationId xmlns:a16="http://schemas.microsoft.com/office/drawing/2014/main" xmlns="" id="{57D38E16-BEDF-48D8-86ED-1D859928221B}"/>
              </a:ext>
            </a:extLst>
          </p:cNvPr>
          <p:cNvSpPr/>
          <p:nvPr/>
        </p:nvSpPr>
        <p:spPr>
          <a:xfrm rot="19740000" flipH="1">
            <a:off x="6292333" y="393112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7" name="Shape 24673">
            <a:extLst>
              <a:ext uri="{FF2B5EF4-FFF2-40B4-BE49-F238E27FC236}">
                <a16:creationId xmlns:a16="http://schemas.microsoft.com/office/drawing/2014/main" xmlns="" id="{9A2AF306-A97C-4ED5-8B50-0192ACB7E5F8}"/>
              </a:ext>
            </a:extLst>
          </p:cNvPr>
          <p:cNvSpPr/>
          <p:nvPr/>
        </p:nvSpPr>
        <p:spPr>
          <a:xfrm rot="5580000">
            <a:off x="7332234" y="384410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8" name="Shape 24674">
            <a:extLst>
              <a:ext uri="{FF2B5EF4-FFF2-40B4-BE49-F238E27FC236}">
                <a16:creationId xmlns:a16="http://schemas.microsoft.com/office/drawing/2014/main" xmlns="" id="{7ADB9606-5EA7-4B60-ABB1-DFCBF567A6DF}"/>
              </a:ext>
            </a:extLst>
          </p:cNvPr>
          <p:cNvSpPr/>
          <p:nvPr/>
        </p:nvSpPr>
        <p:spPr>
          <a:xfrm rot="18120000" flipH="1">
            <a:off x="6753462" y="386821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9" name="Shape 24684">
            <a:extLst>
              <a:ext uri="{FF2B5EF4-FFF2-40B4-BE49-F238E27FC236}">
                <a16:creationId xmlns:a16="http://schemas.microsoft.com/office/drawing/2014/main" xmlns="" id="{FBC9C2F6-589C-4D9D-A095-075081FE3973}"/>
              </a:ext>
            </a:extLst>
          </p:cNvPr>
          <p:cNvSpPr/>
          <p:nvPr/>
        </p:nvSpPr>
        <p:spPr>
          <a:xfrm flipV="1">
            <a:off x="4894430" y="4686874"/>
            <a:ext cx="4680000" cy="0"/>
          </a:xfrm>
          <a:prstGeom prst="line">
            <a:avLst/>
          </a:prstGeom>
          <a:noFill/>
          <a:ln w="635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90" name="TextBox 47">
            <a:extLst>
              <a:ext uri="{FF2B5EF4-FFF2-40B4-BE49-F238E27FC236}">
                <a16:creationId xmlns:a16="http://schemas.microsoft.com/office/drawing/2014/main" xmlns="" id="{5455712B-D241-4692-9EE7-660FC7D5C9E9}"/>
              </a:ext>
            </a:extLst>
          </p:cNvPr>
          <p:cNvSpPr txBox="1"/>
          <p:nvPr/>
        </p:nvSpPr>
        <p:spPr>
          <a:xfrm>
            <a:off x="8752072" y="2401363"/>
            <a:ext cx="2729597" cy="1569660"/>
          </a:xfrm>
          <a:prstGeom prst="rect">
            <a:avLst/>
          </a:prstGeom>
          <a:noFill/>
        </p:spPr>
        <p:txBody>
          <a:bodyPr wrap="square" rtlCol="0">
            <a:spAutoFit/>
          </a:bodyPr>
          <a:lstStyle/>
          <a:p>
            <a:r>
              <a:rPr lang="en-GB" sz="2400" dirty="0">
                <a:solidFill>
                  <a:schemeClr val="tx2"/>
                </a:solidFill>
                <a:latin typeface="+mj-lt"/>
                <a:ea typeface="Roboto" charset="0"/>
                <a:cs typeface="Roboto" charset="0"/>
              </a:rPr>
              <a:t>Above the surface you see the</a:t>
            </a:r>
            <a:br>
              <a:rPr lang="en-GB" sz="2400" dirty="0">
                <a:solidFill>
                  <a:schemeClr val="tx2"/>
                </a:solidFill>
                <a:latin typeface="+mj-lt"/>
                <a:ea typeface="Roboto" charset="0"/>
                <a:cs typeface="Roboto" charset="0"/>
              </a:rPr>
            </a:br>
            <a:r>
              <a:rPr lang="en-GB" sz="2400" b="1" dirty="0">
                <a:solidFill>
                  <a:schemeClr val="tx2"/>
                </a:solidFill>
                <a:latin typeface="+mj-lt"/>
                <a:ea typeface="Roboto" charset="0"/>
                <a:cs typeface="Roboto" charset="0"/>
              </a:rPr>
              <a:t>Symptoms </a:t>
            </a:r>
            <a:r>
              <a:rPr lang="en-GB" sz="2400" dirty="0">
                <a:solidFill>
                  <a:schemeClr val="tx2"/>
                </a:solidFill>
                <a:latin typeface="+mj-lt"/>
                <a:ea typeface="Roboto" charset="0"/>
                <a:cs typeface="Roboto" charset="0"/>
              </a:rPr>
              <a:t>of the problem</a:t>
            </a:r>
          </a:p>
        </p:txBody>
      </p:sp>
      <p:sp>
        <p:nvSpPr>
          <p:cNvPr id="91" name="TextBox 47">
            <a:extLst>
              <a:ext uri="{FF2B5EF4-FFF2-40B4-BE49-F238E27FC236}">
                <a16:creationId xmlns:a16="http://schemas.microsoft.com/office/drawing/2014/main" xmlns="" id="{135D153A-0ED2-4102-BE40-FA92E2B41145}"/>
              </a:ext>
            </a:extLst>
          </p:cNvPr>
          <p:cNvSpPr txBox="1"/>
          <p:nvPr/>
        </p:nvSpPr>
        <p:spPr>
          <a:xfrm>
            <a:off x="8740400" y="4838204"/>
            <a:ext cx="3073046" cy="1200329"/>
          </a:xfrm>
          <a:prstGeom prst="rect">
            <a:avLst/>
          </a:prstGeom>
          <a:noFill/>
        </p:spPr>
        <p:txBody>
          <a:bodyPr wrap="square" rtlCol="0">
            <a:spAutoFit/>
          </a:bodyPr>
          <a:lstStyle/>
          <a:p>
            <a:r>
              <a:rPr lang="en-GB" sz="2400" dirty="0">
                <a:solidFill>
                  <a:schemeClr val="tx2"/>
                </a:solidFill>
                <a:latin typeface="+mj-lt"/>
                <a:ea typeface="Roboto" charset="0"/>
                <a:cs typeface="Roboto" charset="0"/>
              </a:rPr>
              <a:t>You need to dig deeper to find the </a:t>
            </a:r>
            <a:r>
              <a:rPr lang="en-GB" sz="2400" b="1" dirty="0">
                <a:solidFill>
                  <a:schemeClr val="tx2"/>
                </a:solidFill>
                <a:latin typeface="+mj-lt"/>
                <a:ea typeface="Roboto" charset="0"/>
                <a:cs typeface="Roboto" charset="0"/>
              </a:rPr>
              <a:t>Root Cause</a:t>
            </a:r>
            <a:r>
              <a:rPr lang="en-GB" sz="2400" dirty="0">
                <a:solidFill>
                  <a:schemeClr val="tx2"/>
                </a:solidFill>
                <a:latin typeface="+mj-lt"/>
                <a:ea typeface="Roboto" charset="0"/>
                <a:cs typeface="Roboto" charset="0"/>
              </a:rPr>
              <a:t> of a problem</a:t>
            </a:r>
          </a:p>
        </p:txBody>
      </p:sp>
    </p:spTree>
    <p:extLst>
      <p:ext uri="{BB962C8B-B14F-4D97-AF65-F5344CB8AC3E}">
        <p14:creationId xmlns:p14="http://schemas.microsoft.com/office/powerpoint/2010/main" val="30928324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88601" y="524626"/>
            <a:ext cx="8852375" cy="697353"/>
          </a:xfrm>
        </p:spPr>
        <p:txBody>
          <a:bodyPr>
            <a:normAutofit/>
          </a:bodyPr>
          <a:lstStyle/>
          <a:p>
            <a:r>
              <a:rPr lang="en-GB" sz="4000" dirty="0"/>
              <a:t>How to identify risks: Root-Cause-Analy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56363" y="2142491"/>
            <a:ext cx="2998936" cy="426813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dirty="0">
                <a:solidFill>
                  <a:srgbClr val="245473"/>
                </a:solidFill>
                <a:latin typeface="+mj-lt"/>
                <a:ea typeface="Open Sans Light" panose="020B0306030504020204" pitchFamily="34" charset="0"/>
                <a:cs typeface="Open Sans Light" panose="020B0306030504020204" pitchFamily="34" charset="0"/>
              </a:rPr>
              <a:t>The most effective way to identify Risks is the Root-Cause-Analysis.</a:t>
            </a:r>
          </a:p>
          <a:p>
            <a:pPr algn="l">
              <a:lnSpc>
                <a:spcPct val="100000"/>
              </a:lnSpc>
              <a:spcBef>
                <a:spcPts val="600"/>
              </a:spcBef>
            </a:pPr>
            <a:r>
              <a:rPr lang="en-GB"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dentifying the Root-Cause of a Risks provides information about where losses come from and where your organization is vulnerable. </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8" name="Terminator 7">
            <a:extLst>
              <a:ext uri="{FF2B5EF4-FFF2-40B4-BE49-F238E27FC236}">
                <a16:creationId xmlns:a16="http://schemas.microsoft.com/office/drawing/2014/main" xmlns="" id="{75870738-2336-4097-BA32-D20492671F4A}"/>
              </a:ext>
            </a:extLst>
          </p:cNvPr>
          <p:cNvSpPr/>
          <p:nvPr/>
        </p:nvSpPr>
        <p:spPr>
          <a:xfrm>
            <a:off x="3953961" y="2742914"/>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29" name="TextBox 9">
            <a:extLst>
              <a:ext uri="{FF2B5EF4-FFF2-40B4-BE49-F238E27FC236}">
                <a16:creationId xmlns:a16="http://schemas.microsoft.com/office/drawing/2014/main" xmlns="" id="{3B2AEBCB-3C5A-4584-B09C-AF180C6BB4B5}"/>
              </a:ext>
            </a:extLst>
          </p:cNvPr>
          <p:cNvSpPr txBox="1"/>
          <p:nvPr/>
        </p:nvSpPr>
        <p:spPr>
          <a:xfrm>
            <a:off x="4031252" y="286854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Cause 1</a:t>
            </a:r>
          </a:p>
        </p:txBody>
      </p:sp>
      <p:sp>
        <p:nvSpPr>
          <p:cNvPr id="30" name="Process 41">
            <a:extLst>
              <a:ext uri="{FF2B5EF4-FFF2-40B4-BE49-F238E27FC236}">
                <a16:creationId xmlns:a16="http://schemas.microsoft.com/office/drawing/2014/main" xmlns="" id="{ADD15999-79A7-4FDE-B785-FFAD62131FAA}"/>
              </a:ext>
            </a:extLst>
          </p:cNvPr>
          <p:cNvSpPr/>
          <p:nvPr/>
        </p:nvSpPr>
        <p:spPr>
          <a:xfrm>
            <a:off x="8859336" y="2742914"/>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 name="TextBox 42">
            <a:extLst>
              <a:ext uri="{FF2B5EF4-FFF2-40B4-BE49-F238E27FC236}">
                <a16:creationId xmlns:a16="http://schemas.microsoft.com/office/drawing/2014/main" xmlns="" id="{26D454DD-1F3A-4ED3-9025-6159AC3FFC6C}"/>
              </a:ext>
            </a:extLst>
          </p:cNvPr>
          <p:cNvSpPr txBox="1"/>
          <p:nvPr/>
        </p:nvSpPr>
        <p:spPr>
          <a:xfrm>
            <a:off x="8936627" y="286854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fect 1</a:t>
            </a:r>
          </a:p>
        </p:txBody>
      </p:sp>
      <p:sp>
        <p:nvSpPr>
          <p:cNvPr id="32" name="Decision 55">
            <a:extLst>
              <a:ext uri="{FF2B5EF4-FFF2-40B4-BE49-F238E27FC236}">
                <a16:creationId xmlns:a16="http://schemas.microsoft.com/office/drawing/2014/main" xmlns="" id="{76DB7132-C1D7-452D-B149-A28526B77152}"/>
              </a:ext>
            </a:extLst>
          </p:cNvPr>
          <p:cNvSpPr/>
          <p:nvPr/>
        </p:nvSpPr>
        <p:spPr>
          <a:xfrm>
            <a:off x="6406648" y="3406357"/>
            <a:ext cx="1838117" cy="923220"/>
          </a:xfrm>
          <a:prstGeom prst="flowChartDecis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3" name="TextBox 56">
            <a:extLst>
              <a:ext uri="{FF2B5EF4-FFF2-40B4-BE49-F238E27FC236}">
                <a16:creationId xmlns:a16="http://schemas.microsoft.com/office/drawing/2014/main" xmlns="" id="{9C30F023-F312-47E1-A2CB-E8E279CED227}"/>
              </a:ext>
            </a:extLst>
          </p:cNvPr>
          <p:cNvSpPr txBox="1"/>
          <p:nvPr/>
        </p:nvSpPr>
        <p:spPr>
          <a:xfrm>
            <a:off x="6811394" y="3719209"/>
            <a:ext cx="1028624"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vent</a:t>
            </a:r>
          </a:p>
        </p:txBody>
      </p:sp>
      <p:sp>
        <p:nvSpPr>
          <p:cNvPr id="42" name="Terminator 7">
            <a:extLst>
              <a:ext uri="{FF2B5EF4-FFF2-40B4-BE49-F238E27FC236}">
                <a16:creationId xmlns:a16="http://schemas.microsoft.com/office/drawing/2014/main" xmlns="" id="{5B7DD3E8-E470-4708-B921-C4A191AD26C3}"/>
              </a:ext>
            </a:extLst>
          </p:cNvPr>
          <p:cNvSpPr/>
          <p:nvPr/>
        </p:nvSpPr>
        <p:spPr>
          <a:xfrm>
            <a:off x="3953961" y="3593576"/>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3" name="TextBox 9">
            <a:extLst>
              <a:ext uri="{FF2B5EF4-FFF2-40B4-BE49-F238E27FC236}">
                <a16:creationId xmlns:a16="http://schemas.microsoft.com/office/drawing/2014/main" xmlns="" id="{1F4877F6-68B2-43C6-9968-4032D0484904}"/>
              </a:ext>
            </a:extLst>
          </p:cNvPr>
          <p:cNvSpPr txBox="1"/>
          <p:nvPr/>
        </p:nvSpPr>
        <p:spPr>
          <a:xfrm>
            <a:off x="4031252" y="371920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Cause 2</a:t>
            </a:r>
          </a:p>
        </p:txBody>
      </p:sp>
      <p:sp>
        <p:nvSpPr>
          <p:cNvPr id="45" name="Process 41">
            <a:extLst>
              <a:ext uri="{FF2B5EF4-FFF2-40B4-BE49-F238E27FC236}">
                <a16:creationId xmlns:a16="http://schemas.microsoft.com/office/drawing/2014/main" xmlns="" id="{F0051317-A155-467D-B48D-7859E32346C9}"/>
              </a:ext>
            </a:extLst>
          </p:cNvPr>
          <p:cNvSpPr/>
          <p:nvPr/>
        </p:nvSpPr>
        <p:spPr>
          <a:xfrm>
            <a:off x="8859336" y="3593576"/>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7" name="TextBox 42">
            <a:extLst>
              <a:ext uri="{FF2B5EF4-FFF2-40B4-BE49-F238E27FC236}">
                <a16:creationId xmlns:a16="http://schemas.microsoft.com/office/drawing/2014/main" xmlns="" id="{2B64EC2E-6575-45DE-834B-ADF6B0AD95D8}"/>
              </a:ext>
            </a:extLst>
          </p:cNvPr>
          <p:cNvSpPr txBox="1"/>
          <p:nvPr/>
        </p:nvSpPr>
        <p:spPr>
          <a:xfrm>
            <a:off x="8936627" y="371920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fect 2</a:t>
            </a:r>
          </a:p>
        </p:txBody>
      </p:sp>
      <p:sp>
        <p:nvSpPr>
          <p:cNvPr id="49" name="Terminator 7">
            <a:extLst>
              <a:ext uri="{FF2B5EF4-FFF2-40B4-BE49-F238E27FC236}">
                <a16:creationId xmlns:a16="http://schemas.microsoft.com/office/drawing/2014/main" xmlns="" id="{B25DB335-3A97-461B-8CF0-1ED2694AE342}"/>
              </a:ext>
            </a:extLst>
          </p:cNvPr>
          <p:cNvSpPr/>
          <p:nvPr/>
        </p:nvSpPr>
        <p:spPr>
          <a:xfrm>
            <a:off x="3953961" y="4468531"/>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51" name="TextBox 9">
            <a:extLst>
              <a:ext uri="{FF2B5EF4-FFF2-40B4-BE49-F238E27FC236}">
                <a16:creationId xmlns:a16="http://schemas.microsoft.com/office/drawing/2014/main" xmlns="" id="{87E96D78-6781-49AD-A42D-7121FC8D37FB}"/>
              </a:ext>
            </a:extLst>
          </p:cNvPr>
          <p:cNvSpPr txBox="1"/>
          <p:nvPr/>
        </p:nvSpPr>
        <p:spPr>
          <a:xfrm>
            <a:off x="4031252" y="4594166"/>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Cause 3</a:t>
            </a:r>
          </a:p>
        </p:txBody>
      </p:sp>
      <p:sp>
        <p:nvSpPr>
          <p:cNvPr id="52" name="Process 41">
            <a:extLst>
              <a:ext uri="{FF2B5EF4-FFF2-40B4-BE49-F238E27FC236}">
                <a16:creationId xmlns:a16="http://schemas.microsoft.com/office/drawing/2014/main" xmlns="" id="{2764D0EB-F9A8-44DE-96CD-E62C7EB6390C}"/>
              </a:ext>
            </a:extLst>
          </p:cNvPr>
          <p:cNvSpPr/>
          <p:nvPr/>
        </p:nvSpPr>
        <p:spPr>
          <a:xfrm>
            <a:off x="8859336" y="4468531"/>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54" name="TextBox 42">
            <a:extLst>
              <a:ext uri="{FF2B5EF4-FFF2-40B4-BE49-F238E27FC236}">
                <a16:creationId xmlns:a16="http://schemas.microsoft.com/office/drawing/2014/main" xmlns="" id="{354B21BD-6D98-4AB9-8051-81CD829A3ADD}"/>
              </a:ext>
            </a:extLst>
          </p:cNvPr>
          <p:cNvSpPr txBox="1"/>
          <p:nvPr/>
        </p:nvSpPr>
        <p:spPr>
          <a:xfrm>
            <a:off x="8936627" y="4594166"/>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fect 3</a:t>
            </a:r>
          </a:p>
        </p:txBody>
      </p:sp>
      <p:cxnSp>
        <p:nvCxnSpPr>
          <p:cNvPr id="5" name="Verbinder: gekrümmt 4">
            <a:extLst>
              <a:ext uri="{FF2B5EF4-FFF2-40B4-BE49-F238E27FC236}">
                <a16:creationId xmlns:a16="http://schemas.microsoft.com/office/drawing/2014/main" xmlns="" id="{68041AD1-7D1E-4E3F-B46E-5ECA50E3C586}"/>
              </a:ext>
            </a:extLst>
          </p:cNvPr>
          <p:cNvCxnSpPr>
            <a:stCxn id="28" idx="3"/>
            <a:endCxn id="32" idx="1"/>
          </p:cNvCxnSpPr>
          <p:nvPr/>
        </p:nvCxnSpPr>
        <p:spPr>
          <a:xfrm>
            <a:off x="5792078" y="3017306"/>
            <a:ext cx="614570" cy="85066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Verbinder: gekrümmt 54">
            <a:extLst>
              <a:ext uri="{FF2B5EF4-FFF2-40B4-BE49-F238E27FC236}">
                <a16:creationId xmlns:a16="http://schemas.microsoft.com/office/drawing/2014/main" xmlns="" id="{80ACA1C7-D369-4D0B-AFC9-18C5E9A10BBF}"/>
              </a:ext>
            </a:extLst>
          </p:cNvPr>
          <p:cNvCxnSpPr>
            <a:cxnSpLocks/>
          </p:cNvCxnSpPr>
          <p:nvPr/>
        </p:nvCxnSpPr>
        <p:spPr>
          <a:xfrm flipV="1">
            <a:off x="5792078" y="3858934"/>
            <a:ext cx="614570" cy="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Verbinder: gekrümmt 61">
            <a:extLst>
              <a:ext uri="{FF2B5EF4-FFF2-40B4-BE49-F238E27FC236}">
                <a16:creationId xmlns:a16="http://schemas.microsoft.com/office/drawing/2014/main" xmlns="" id="{10FEC7AA-899E-4D20-80BF-B7401D03890B}"/>
              </a:ext>
            </a:extLst>
          </p:cNvPr>
          <p:cNvCxnSpPr>
            <a:cxnSpLocks/>
            <a:stCxn id="49" idx="3"/>
            <a:endCxn id="32" idx="1"/>
          </p:cNvCxnSpPr>
          <p:nvPr/>
        </p:nvCxnSpPr>
        <p:spPr>
          <a:xfrm flipV="1">
            <a:off x="5792078" y="3867967"/>
            <a:ext cx="614570" cy="87495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Verbinder: gekrümmt 62">
            <a:extLst>
              <a:ext uri="{FF2B5EF4-FFF2-40B4-BE49-F238E27FC236}">
                <a16:creationId xmlns:a16="http://schemas.microsoft.com/office/drawing/2014/main" xmlns="" id="{E236E96C-1D08-4F2C-B8FA-9E6D5CCA36D1}"/>
              </a:ext>
            </a:extLst>
          </p:cNvPr>
          <p:cNvCxnSpPr>
            <a:cxnSpLocks/>
            <a:stCxn id="32" idx="3"/>
            <a:endCxn id="30" idx="1"/>
          </p:cNvCxnSpPr>
          <p:nvPr/>
        </p:nvCxnSpPr>
        <p:spPr>
          <a:xfrm flipV="1">
            <a:off x="8244765" y="3017306"/>
            <a:ext cx="614571" cy="85066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Verbinder: gekrümmt 63">
            <a:extLst>
              <a:ext uri="{FF2B5EF4-FFF2-40B4-BE49-F238E27FC236}">
                <a16:creationId xmlns:a16="http://schemas.microsoft.com/office/drawing/2014/main" xmlns="" id="{CB51E3C5-05BE-49DC-97F2-6FE2EDF99A79}"/>
              </a:ext>
            </a:extLst>
          </p:cNvPr>
          <p:cNvCxnSpPr>
            <a:cxnSpLocks/>
          </p:cNvCxnSpPr>
          <p:nvPr/>
        </p:nvCxnSpPr>
        <p:spPr>
          <a:xfrm>
            <a:off x="8244765" y="3858934"/>
            <a:ext cx="614571" cy="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Verbinder: gekrümmt 64">
            <a:extLst>
              <a:ext uri="{FF2B5EF4-FFF2-40B4-BE49-F238E27FC236}">
                <a16:creationId xmlns:a16="http://schemas.microsoft.com/office/drawing/2014/main" xmlns="" id="{E7FD64AF-5B39-4342-B27F-EC86E40DFE83}"/>
              </a:ext>
            </a:extLst>
          </p:cNvPr>
          <p:cNvCxnSpPr>
            <a:cxnSpLocks/>
            <a:stCxn id="32" idx="3"/>
            <a:endCxn id="52" idx="1"/>
          </p:cNvCxnSpPr>
          <p:nvPr/>
        </p:nvCxnSpPr>
        <p:spPr>
          <a:xfrm>
            <a:off x="8244765" y="3867967"/>
            <a:ext cx="614571" cy="874956"/>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1852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27484" y="685320"/>
            <a:ext cx="8852375" cy="697353"/>
          </a:xfrm>
        </p:spPr>
        <p:txBody>
          <a:bodyPr>
            <a:normAutofit/>
          </a:bodyPr>
          <a:lstStyle/>
          <a:p>
            <a:r>
              <a:rPr lang="en-GB" dirty="0"/>
              <a:t>Identify 5 Categories of Root Cause</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33860" y="1964362"/>
            <a:ext cx="3545956" cy="46374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o identify Root Causes, it is important to structure potential roots into categories. The categories you chose depend on your company structure and the business environment. Here we display some of the typical Root Cause Categories.</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for a detailed description of the Root Cause Analysis please see the next section) </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Oval 1">
            <a:extLst>
              <a:ext uri="{FF2B5EF4-FFF2-40B4-BE49-F238E27FC236}">
                <a16:creationId xmlns:a16="http://schemas.microsoft.com/office/drawing/2014/main" xmlns="" id="{8F3D6008-0476-46BD-9676-4D8E796B7509}"/>
              </a:ext>
            </a:extLst>
          </p:cNvPr>
          <p:cNvSpPr/>
          <p:nvPr/>
        </p:nvSpPr>
        <p:spPr>
          <a:xfrm>
            <a:off x="3559974" y="3150219"/>
            <a:ext cx="1857859" cy="1857859"/>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6" name="Block Arc 2">
            <a:extLst>
              <a:ext uri="{FF2B5EF4-FFF2-40B4-BE49-F238E27FC236}">
                <a16:creationId xmlns:a16="http://schemas.microsoft.com/office/drawing/2014/main" xmlns="" id="{49440331-80B6-4F7B-A4D5-F3D2AFE19CE5}"/>
              </a:ext>
            </a:extLst>
          </p:cNvPr>
          <p:cNvSpPr/>
          <p:nvPr/>
        </p:nvSpPr>
        <p:spPr>
          <a:xfrm rot="5400000">
            <a:off x="3149722" y="2747399"/>
            <a:ext cx="2673913" cy="2673913"/>
          </a:xfrm>
          <a:prstGeom prst="blockArc">
            <a:avLst>
              <a:gd name="adj1" fmla="val 10800000"/>
              <a:gd name="adj2" fmla="val 0"/>
              <a:gd name="adj3" fmla="val 1983"/>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7" name="Oval 3">
            <a:extLst>
              <a:ext uri="{FF2B5EF4-FFF2-40B4-BE49-F238E27FC236}">
                <a16:creationId xmlns:a16="http://schemas.microsoft.com/office/drawing/2014/main" xmlns="" id="{333DFD6E-0013-49C8-B557-8A5B85ED97C6}"/>
              </a:ext>
            </a:extLst>
          </p:cNvPr>
          <p:cNvSpPr/>
          <p:nvPr/>
        </p:nvSpPr>
        <p:spPr>
          <a:xfrm>
            <a:off x="4449514" y="2707675"/>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8" name="Oval 4">
            <a:extLst>
              <a:ext uri="{FF2B5EF4-FFF2-40B4-BE49-F238E27FC236}">
                <a16:creationId xmlns:a16="http://schemas.microsoft.com/office/drawing/2014/main" xmlns="" id="{57FB06C4-4CFE-4D9E-BD56-E77D10460517}"/>
              </a:ext>
            </a:extLst>
          </p:cNvPr>
          <p:cNvSpPr/>
          <p:nvPr/>
        </p:nvSpPr>
        <p:spPr>
          <a:xfrm>
            <a:off x="4449514" y="5326449"/>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9" name="Oval 5">
            <a:extLst>
              <a:ext uri="{FF2B5EF4-FFF2-40B4-BE49-F238E27FC236}">
                <a16:creationId xmlns:a16="http://schemas.microsoft.com/office/drawing/2014/main" xmlns="" id="{4F2AAFC0-D264-4932-81B4-819E962A591A}"/>
              </a:ext>
            </a:extLst>
          </p:cNvPr>
          <p:cNvSpPr/>
          <p:nvPr/>
        </p:nvSpPr>
        <p:spPr>
          <a:xfrm>
            <a:off x="5734432" y="4016787"/>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0" name="Oval 6">
            <a:extLst>
              <a:ext uri="{FF2B5EF4-FFF2-40B4-BE49-F238E27FC236}">
                <a16:creationId xmlns:a16="http://schemas.microsoft.com/office/drawing/2014/main" xmlns="" id="{DBB97E07-B540-4CC9-AA74-ABF1E5465E0C}"/>
              </a:ext>
            </a:extLst>
          </p:cNvPr>
          <p:cNvSpPr/>
          <p:nvPr/>
        </p:nvSpPr>
        <p:spPr>
          <a:xfrm>
            <a:off x="5408807" y="3156133"/>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1" name="Oval 7">
            <a:extLst>
              <a:ext uri="{FF2B5EF4-FFF2-40B4-BE49-F238E27FC236}">
                <a16:creationId xmlns:a16="http://schemas.microsoft.com/office/drawing/2014/main" xmlns="" id="{5341A8F8-6E31-489B-8E0E-1827FFA51E0C}"/>
              </a:ext>
            </a:extLst>
          </p:cNvPr>
          <p:cNvSpPr/>
          <p:nvPr/>
        </p:nvSpPr>
        <p:spPr>
          <a:xfrm>
            <a:off x="5408042" y="4882283"/>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2" name="Oval 12">
            <a:extLst>
              <a:ext uri="{FF2B5EF4-FFF2-40B4-BE49-F238E27FC236}">
                <a16:creationId xmlns:a16="http://schemas.microsoft.com/office/drawing/2014/main" xmlns="" id="{1EFDDF46-9B44-4536-A413-823A90E3A1B8}"/>
              </a:ext>
            </a:extLst>
          </p:cNvPr>
          <p:cNvSpPr/>
          <p:nvPr/>
        </p:nvSpPr>
        <p:spPr>
          <a:xfrm>
            <a:off x="6223946" y="2175365"/>
            <a:ext cx="595659" cy="59565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3" name="Oval 13">
            <a:extLst>
              <a:ext uri="{FF2B5EF4-FFF2-40B4-BE49-F238E27FC236}">
                <a16:creationId xmlns:a16="http://schemas.microsoft.com/office/drawing/2014/main" xmlns="" id="{5BC6457B-5A66-48BA-80C5-0F4DF3357258}"/>
              </a:ext>
            </a:extLst>
          </p:cNvPr>
          <p:cNvSpPr/>
          <p:nvPr/>
        </p:nvSpPr>
        <p:spPr>
          <a:xfrm>
            <a:off x="6223946" y="5387165"/>
            <a:ext cx="595659" cy="59565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4" name="Oval 14">
            <a:extLst>
              <a:ext uri="{FF2B5EF4-FFF2-40B4-BE49-F238E27FC236}">
                <a16:creationId xmlns:a16="http://schemas.microsoft.com/office/drawing/2014/main" xmlns="" id="{CEF6CF03-2A39-4E13-A189-6BAACF4C4E34}"/>
              </a:ext>
            </a:extLst>
          </p:cNvPr>
          <p:cNvSpPr/>
          <p:nvPr/>
        </p:nvSpPr>
        <p:spPr>
          <a:xfrm>
            <a:off x="7551861" y="3791184"/>
            <a:ext cx="595659" cy="59565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5" name="Oval 17">
            <a:extLst>
              <a:ext uri="{FF2B5EF4-FFF2-40B4-BE49-F238E27FC236}">
                <a16:creationId xmlns:a16="http://schemas.microsoft.com/office/drawing/2014/main" xmlns="" id="{F8783124-D8AB-4164-B76B-5D6629D5C699}"/>
              </a:ext>
            </a:extLst>
          </p:cNvPr>
          <p:cNvSpPr/>
          <p:nvPr/>
        </p:nvSpPr>
        <p:spPr>
          <a:xfrm>
            <a:off x="7078276" y="4709177"/>
            <a:ext cx="595659" cy="5956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 name="Oval 18">
            <a:extLst>
              <a:ext uri="{FF2B5EF4-FFF2-40B4-BE49-F238E27FC236}">
                <a16:creationId xmlns:a16="http://schemas.microsoft.com/office/drawing/2014/main" xmlns="" id="{36BD2E75-B64E-4C2E-AD86-6BFC3869AC3F}"/>
              </a:ext>
            </a:extLst>
          </p:cNvPr>
          <p:cNvSpPr/>
          <p:nvPr/>
        </p:nvSpPr>
        <p:spPr>
          <a:xfrm>
            <a:off x="7077430" y="2862174"/>
            <a:ext cx="595659" cy="5956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cxnSp>
        <p:nvCxnSpPr>
          <p:cNvPr id="17" name="Straight Connector 19">
            <a:extLst>
              <a:ext uri="{FF2B5EF4-FFF2-40B4-BE49-F238E27FC236}">
                <a16:creationId xmlns:a16="http://schemas.microsoft.com/office/drawing/2014/main" xmlns="" id="{C6449F97-56A8-4B50-9204-3D0FE9635568}"/>
              </a:ext>
            </a:extLst>
          </p:cNvPr>
          <p:cNvCxnSpPr>
            <a:cxnSpLocks/>
            <a:stCxn id="14" idx="2"/>
            <a:endCxn id="9" idx="6"/>
          </p:cNvCxnSpPr>
          <p:nvPr/>
        </p:nvCxnSpPr>
        <p:spPr>
          <a:xfrm flipH="1" flipV="1">
            <a:off x="5859154" y="4079147"/>
            <a:ext cx="1692706"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22">
            <a:extLst>
              <a:ext uri="{FF2B5EF4-FFF2-40B4-BE49-F238E27FC236}">
                <a16:creationId xmlns:a16="http://schemas.microsoft.com/office/drawing/2014/main" xmlns="" id="{2882EE5E-BB59-4B37-889E-2384DB110A8C}"/>
              </a:ext>
            </a:extLst>
          </p:cNvPr>
          <p:cNvCxnSpPr>
            <a:cxnSpLocks/>
          </p:cNvCxnSpPr>
          <p:nvPr/>
        </p:nvCxnSpPr>
        <p:spPr>
          <a:xfrm flipH="1">
            <a:off x="5532764" y="3209477"/>
            <a:ext cx="1544666"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23">
            <a:extLst>
              <a:ext uri="{FF2B5EF4-FFF2-40B4-BE49-F238E27FC236}">
                <a16:creationId xmlns:a16="http://schemas.microsoft.com/office/drawing/2014/main" xmlns="" id="{A48E7934-C292-4180-AAE0-DAF448A9CC58}"/>
              </a:ext>
            </a:extLst>
          </p:cNvPr>
          <p:cNvCxnSpPr>
            <a:cxnSpLocks/>
          </p:cNvCxnSpPr>
          <p:nvPr/>
        </p:nvCxnSpPr>
        <p:spPr>
          <a:xfrm flipH="1">
            <a:off x="4681946" y="2463760"/>
            <a:ext cx="154345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24">
            <a:extLst>
              <a:ext uri="{FF2B5EF4-FFF2-40B4-BE49-F238E27FC236}">
                <a16:creationId xmlns:a16="http://schemas.microsoft.com/office/drawing/2014/main" xmlns="" id="{A54A646C-4E2B-45F5-AE1D-51F54157FA61}"/>
              </a:ext>
            </a:extLst>
          </p:cNvPr>
          <p:cNvCxnSpPr>
            <a:cxnSpLocks/>
            <a:endCxn id="7" idx="0"/>
          </p:cNvCxnSpPr>
          <p:nvPr/>
        </p:nvCxnSpPr>
        <p:spPr>
          <a:xfrm flipH="1">
            <a:off x="4511875" y="2456762"/>
            <a:ext cx="181991" cy="250913"/>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5">
            <a:extLst>
              <a:ext uri="{FF2B5EF4-FFF2-40B4-BE49-F238E27FC236}">
                <a16:creationId xmlns:a16="http://schemas.microsoft.com/office/drawing/2014/main" xmlns="" id="{4C221CF0-19E1-46B2-B54F-87A2135FFB57}"/>
              </a:ext>
            </a:extLst>
          </p:cNvPr>
          <p:cNvCxnSpPr>
            <a:cxnSpLocks/>
          </p:cNvCxnSpPr>
          <p:nvPr/>
        </p:nvCxnSpPr>
        <p:spPr>
          <a:xfrm flipH="1">
            <a:off x="5523103" y="4956927"/>
            <a:ext cx="154345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6">
            <a:extLst>
              <a:ext uri="{FF2B5EF4-FFF2-40B4-BE49-F238E27FC236}">
                <a16:creationId xmlns:a16="http://schemas.microsoft.com/office/drawing/2014/main" xmlns="" id="{0EF2EF58-8CFE-405C-8B08-A43E6F684CBD}"/>
              </a:ext>
            </a:extLst>
          </p:cNvPr>
          <p:cNvCxnSpPr>
            <a:cxnSpLocks/>
          </p:cNvCxnSpPr>
          <p:nvPr/>
        </p:nvCxnSpPr>
        <p:spPr>
          <a:xfrm flipH="1">
            <a:off x="4683387" y="5680293"/>
            <a:ext cx="154345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7">
            <a:extLst>
              <a:ext uri="{FF2B5EF4-FFF2-40B4-BE49-F238E27FC236}">
                <a16:creationId xmlns:a16="http://schemas.microsoft.com/office/drawing/2014/main" xmlns="" id="{17ADBFC6-F0C0-49A9-88A0-B04A95D1261D}"/>
              </a:ext>
            </a:extLst>
          </p:cNvPr>
          <p:cNvCxnSpPr>
            <a:cxnSpLocks/>
            <a:endCxn id="8" idx="4"/>
          </p:cNvCxnSpPr>
          <p:nvPr/>
        </p:nvCxnSpPr>
        <p:spPr>
          <a:xfrm flipH="1" flipV="1">
            <a:off x="4511875" y="5451171"/>
            <a:ext cx="174811" cy="236122"/>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 name="TextBox 28">
            <a:extLst>
              <a:ext uri="{FF2B5EF4-FFF2-40B4-BE49-F238E27FC236}">
                <a16:creationId xmlns:a16="http://schemas.microsoft.com/office/drawing/2014/main" xmlns="" id="{0263D0B5-5F28-45C0-8F06-C840BDF7287D}"/>
              </a:ext>
            </a:extLst>
          </p:cNvPr>
          <p:cNvSpPr txBox="1"/>
          <p:nvPr/>
        </p:nvSpPr>
        <p:spPr>
          <a:xfrm>
            <a:off x="4681947" y="2088383"/>
            <a:ext cx="1491470"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External</a:t>
            </a:r>
          </a:p>
        </p:txBody>
      </p:sp>
      <p:sp>
        <p:nvSpPr>
          <p:cNvPr id="25" name="TextBox 29">
            <a:extLst>
              <a:ext uri="{FF2B5EF4-FFF2-40B4-BE49-F238E27FC236}">
                <a16:creationId xmlns:a16="http://schemas.microsoft.com/office/drawing/2014/main" xmlns="" id="{28BE7746-E121-4BE1-93C2-33F08F491A2E}"/>
              </a:ext>
            </a:extLst>
          </p:cNvPr>
          <p:cNvSpPr txBox="1"/>
          <p:nvPr/>
        </p:nvSpPr>
        <p:spPr>
          <a:xfrm>
            <a:off x="4873771" y="5301909"/>
            <a:ext cx="1279938"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Systems</a:t>
            </a:r>
          </a:p>
        </p:txBody>
      </p:sp>
      <p:sp>
        <p:nvSpPr>
          <p:cNvPr id="26" name="TextBox 30">
            <a:extLst>
              <a:ext uri="{FF2B5EF4-FFF2-40B4-BE49-F238E27FC236}">
                <a16:creationId xmlns:a16="http://schemas.microsoft.com/office/drawing/2014/main" xmlns="" id="{8B16CC06-795F-4D0C-A4EF-43C3D853206A}"/>
              </a:ext>
            </a:extLst>
          </p:cNvPr>
          <p:cNvSpPr txBox="1"/>
          <p:nvPr/>
        </p:nvSpPr>
        <p:spPr>
          <a:xfrm>
            <a:off x="5533530" y="2848930"/>
            <a:ext cx="1396978"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People</a:t>
            </a:r>
          </a:p>
        </p:txBody>
      </p:sp>
      <p:sp>
        <p:nvSpPr>
          <p:cNvPr id="27" name="TextBox 31">
            <a:extLst>
              <a:ext uri="{FF2B5EF4-FFF2-40B4-BE49-F238E27FC236}">
                <a16:creationId xmlns:a16="http://schemas.microsoft.com/office/drawing/2014/main" xmlns="" id="{B943754D-0FEA-4359-B404-66FF19A302D6}"/>
              </a:ext>
            </a:extLst>
          </p:cNvPr>
          <p:cNvSpPr txBox="1"/>
          <p:nvPr/>
        </p:nvSpPr>
        <p:spPr>
          <a:xfrm>
            <a:off x="5480254" y="4559898"/>
            <a:ext cx="1629149"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Relationships</a:t>
            </a:r>
          </a:p>
        </p:txBody>
      </p:sp>
      <p:sp>
        <p:nvSpPr>
          <p:cNvPr id="28" name="TextBox 33">
            <a:extLst>
              <a:ext uri="{FF2B5EF4-FFF2-40B4-BE49-F238E27FC236}">
                <a16:creationId xmlns:a16="http://schemas.microsoft.com/office/drawing/2014/main" xmlns="" id="{9462910E-AF70-4CDF-9690-139F73B64C40}"/>
              </a:ext>
            </a:extLst>
          </p:cNvPr>
          <p:cNvSpPr txBox="1"/>
          <p:nvPr/>
        </p:nvSpPr>
        <p:spPr>
          <a:xfrm>
            <a:off x="6199734" y="3684892"/>
            <a:ext cx="1306599"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Process</a:t>
            </a:r>
          </a:p>
        </p:txBody>
      </p:sp>
      <p:sp>
        <p:nvSpPr>
          <p:cNvPr id="34" name="Subtitle 2">
            <a:extLst>
              <a:ext uri="{FF2B5EF4-FFF2-40B4-BE49-F238E27FC236}">
                <a16:creationId xmlns:a16="http://schemas.microsoft.com/office/drawing/2014/main" xmlns="" id="{6C30D84B-5B63-4CA6-996D-79F6C78533D1}"/>
              </a:ext>
            </a:extLst>
          </p:cNvPr>
          <p:cNvSpPr txBox="1">
            <a:spLocks/>
          </p:cNvSpPr>
          <p:nvPr/>
        </p:nvSpPr>
        <p:spPr>
          <a:xfrm>
            <a:off x="8224491" y="3592327"/>
            <a:ext cx="3967509"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Risk arising from the organization’s execution of business operations.  </a:t>
            </a:r>
            <a:r>
              <a:rPr lang="en-GB" sz="1600" b="1" dirty="0">
                <a:solidFill>
                  <a:schemeClr val="tx1"/>
                </a:solidFill>
                <a:latin typeface="+mj-lt"/>
                <a:ea typeface="Lato Light" panose="020F0502020204030203" pitchFamily="34" charset="0"/>
                <a:cs typeface="Mukta ExtraLight" panose="020B0000000000000000" pitchFamily="34" charset="77"/>
              </a:rPr>
              <a:t>Examples:</a:t>
            </a:r>
            <a:r>
              <a:rPr lang="en-GB" sz="1600" dirty="0">
                <a:solidFill>
                  <a:schemeClr val="tx1"/>
                </a:solidFill>
                <a:latin typeface="+mj-lt"/>
                <a:ea typeface="Lato Light" panose="020F0502020204030203" pitchFamily="34" charset="0"/>
                <a:cs typeface="Mukta ExtraLight" panose="020B0000000000000000" pitchFamily="34" charset="77"/>
              </a:rPr>
              <a:t> Inadequate budgeting, missing documentation, lack of policies or procedures</a:t>
            </a:r>
          </a:p>
        </p:txBody>
      </p:sp>
      <p:sp>
        <p:nvSpPr>
          <p:cNvPr id="35" name="Subtitle 2">
            <a:extLst>
              <a:ext uri="{FF2B5EF4-FFF2-40B4-BE49-F238E27FC236}">
                <a16:creationId xmlns:a16="http://schemas.microsoft.com/office/drawing/2014/main" xmlns="" id="{3FD4E0B9-D3D4-421E-8FE9-579C9BBEF2AC}"/>
              </a:ext>
            </a:extLst>
          </p:cNvPr>
          <p:cNvSpPr txBox="1">
            <a:spLocks/>
          </p:cNvSpPr>
          <p:nvPr/>
        </p:nvSpPr>
        <p:spPr>
          <a:xfrm>
            <a:off x="7691032" y="2621840"/>
            <a:ext cx="4248555"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ED7D31"/>
                </a:solidFill>
                <a:latin typeface="+mj-lt"/>
                <a:ea typeface="Lato Light" panose="020F0502020204030203" pitchFamily="34" charset="0"/>
                <a:cs typeface="Mukta ExtraLight" panose="020B0000000000000000" pitchFamily="34" charset="77"/>
              </a:rPr>
              <a:t>Risks involving people who work for the organization.  </a:t>
            </a:r>
            <a:r>
              <a:rPr lang="en-GB" sz="1600" b="1" dirty="0">
                <a:solidFill>
                  <a:srgbClr val="ED7D31"/>
                </a:solidFill>
                <a:latin typeface="+mj-lt"/>
                <a:ea typeface="Lato Light" panose="020F0502020204030203" pitchFamily="34" charset="0"/>
                <a:cs typeface="Mukta ExtraLight" panose="020B0000000000000000" pitchFamily="34" charset="77"/>
              </a:rPr>
              <a:t>Examples</a:t>
            </a:r>
            <a:r>
              <a:rPr lang="en-GB" sz="1600" dirty="0">
                <a:solidFill>
                  <a:srgbClr val="ED7D31"/>
                </a:solidFill>
                <a:latin typeface="+mj-lt"/>
                <a:ea typeface="Lato Light" panose="020F0502020204030203" pitchFamily="34" charset="0"/>
                <a:cs typeface="Mukta ExtraLight" panose="020B0000000000000000" pitchFamily="34" charset="77"/>
              </a:rPr>
              <a:t>: Misuse of confidential information, non-compliance with policies, lack of necessary skillsets</a:t>
            </a:r>
          </a:p>
        </p:txBody>
      </p:sp>
      <p:sp>
        <p:nvSpPr>
          <p:cNvPr id="36" name="Subtitle 2">
            <a:extLst>
              <a:ext uri="{FF2B5EF4-FFF2-40B4-BE49-F238E27FC236}">
                <a16:creationId xmlns:a16="http://schemas.microsoft.com/office/drawing/2014/main" xmlns="" id="{1B14DFA1-F6D5-4D85-BBBA-ABCBE88C4CAA}"/>
              </a:ext>
            </a:extLst>
          </p:cNvPr>
          <p:cNvSpPr txBox="1">
            <a:spLocks/>
          </p:cNvSpPr>
          <p:nvPr/>
        </p:nvSpPr>
        <p:spPr>
          <a:xfrm>
            <a:off x="7688268" y="4632809"/>
            <a:ext cx="4383182"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ED7D31"/>
                </a:solidFill>
                <a:latin typeface="+mj-lt"/>
                <a:ea typeface="Lato Light" panose="020F0502020204030203" pitchFamily="34" charset="0"/>
                <a:cs typeface="Mukta ExtraLight" panose="020B0000000000000000" pitchFamily="34" charset="77"/>
              </a:rPr>
              <a:t>Risk caused by the organization’s connection with third-parties.  </a:t>
            </a:r>
            <a:r>
              <a:rPr lang="en-GB" sz="1600" b="1" dirty="0">
                <a:solidFill>
                  <a:srgbClr val="ED7D31"/>
                </a:solidFill>
                <a:latin typeface="+mj-lt"/>
                <a:ea typeface="Lato Light" panose="020F0502020204030203" pitchFamily="34" charset="0"/>
                <a:cs typeface="Mukta ExtraLight" panose="020B0000000000000000" pitchFamily="34" charset="77"/>
              </a:rPr>
              <a:t>Examples</a:t>
            </a:r>
            <a:r>
              <a:rPr lang="en-GB" sz="1600" dirty="0">
                <a:solidFill>
                  <a:srgbClr val="ED7D31"/>
                </a:solidFill>
                <a:latin typeface="+mj-lt"/>
                <a:ea typeface="Lato Light" panose="020F0502020204030203" pitchFamily="34" charset="0"/>
                <a:cs typeface="Mukta ExtraLight" panose="020B0000000000000000" pitchFamily="34" charset="77"/>
              </a:rPr>
              <a:t>: Contracts are not reviewed properly, inadequate security protocols on third-party relationships</a:t>
            </a:r>
          </a:p>
        </p:txBody>
      </p:sp>
      <p:sp>
        <p:nvSpPr>
          <p:cNvPr id="37" name="Subtitle 2">
            <a:extLst>
              <a:ext uri="{FF2B5EF4-FFF2-40B4-BE49-F238E27FC236}">
                <a16:creationId xmlns:a16="http://schemas.microsoft.com/office/drawing/2014/main" xmlns="" id="{BFC7BCB1-30EB-4EA7-ABAF-97312D609D22}"/>
              </a:ext>
            </a:extLst>
          </p:cNvPr>
          <p:cNvSpPr txBox="1">
            <a:spLocks/>
          </p:cNvSpPr>
          <p:nvPr/>
        </p:nvSpPr>
        <p:spPr>
          <a:xfrm>
            <a:off x="6789704" y="5618944"/>
            <a:ext cx="5119575"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4472C4"/>
                </a:solidFill>
                <a:latin typeface="+mj-lt"/>
                <a:ea typeface="Lato Light" panose="020F0502020204030203" pitchFamily="34" charset="0"/>
                <a:cs typeface="Mukta ExtraLight" panose="020B0000000000000000" pitchFamily="34" charset="77"/>
              </a:rPr>
              <a:t>Risks associated with IT processes, security, data, or information assets. </a:t>
            </a:r>
            <a:r>
              <a:rPr lang="en-GB" sz="1600" b="1" dirty="0">
                <a:solidFill>
                  <a:srgbClr val="4472C4"/>
                </a:solidFill>
                <a:latin typeface="+mj-lt"/>
                <a:ea typeface="Lato Light" panose="020F0502020204030203" pitchFamily="34" charset="0"/>
                <a:cs typeface="Mukta ExtraLight" panose="020B0000000000000000" pitchFamily="34" charset="77"/>
              </a:rPr>
              <a:t>Examples</a:t>
            </a:r>
            <a:r>
              <a:rPr lang="en-GB" sz="1600" dirty="0">
                <a:solidFill>
                  <a:srgbClr val="4472C4"/>
                </a:solidFill>
                <a:latin typeface="+mj-lt"/>
                <a:ea typeface="Lato Light" panose="020F0502020204030203" pitchFamily="34" charset="0"/>
                <a:cs typeface="Mukta ExtraLight" panose="020B0000000000000000" pitchFamily="34" charset="77"/>
              </a:rPr>
              <a:t>: Data is inaccessible, failure to adopt new technology trends, inadequate system maintenance</a:t>
            </a:r>
          </a:p>
        </p:txBody>
      </p:sp>
      <p:sp>
        <p:nvSpPr>
          <p:cNvPr id="38" name="Subtitle 2">
            <a:extLst>
              <a:ext uri="{FF2B5EF4-FFF2-40B4-BE49-F238E27FC236}">
                <a16:creationId xmlns:a16="http://schemas.microsoft.com/office/drawing/2014/main" xmlns="" id="{588E0DD6-8307-419D-88CB-737FE211E2BE}"/>
              </a:ext>
            </a:extLst>
          </p:cNvPr>
          <p:cNvSpPr txBox="1">
            <a:spLocks/>
          </p:cNvSpPr>
          <p:nvPr/>
        </p:nvSpPr>
        <p:spPr>
          <a:xfrm>
            <a:off x="7045486" y="1793017"/>
            <a:ext cx="5119574"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0070C0"/>
                </a:solidFill>
                <a:latin typeface="+mj-lt"/>
                <a:ea typeface="Lato Light" panose="020F0502020204030203" pitchFamily="34" charset="0"/>
                <a:cs typeface="Mukta ExtraLight" panose="020B0000000000000000" pitchFamily="34" charset="77"/>
              </a:rPr>
              <a:t>Risk caused by people, environment, and other circumstances.  </a:t>
            </a:r>
            <a:r>
              <a:rPr lang="en-GB" sz="1600" b="1" dirty="0">
                <a:solidFill>
                  <a:srgbClr val="0070C0"/>
                </a:solidFill>
                <a:latin typeface="+mj-lt"/>
                <a:ea typeface="Lato Light" panose="020F0502020204030203" pitchFamily="34" charset="0"/>
                <a:cs typeface="Mukta ExtraLight" panose="020B0000000000000000" pitchFamily="34" charset="77"/>
              </a:rPr>
              <a:t>Examples</a:t>
            </a:r>
            <a:r>
              <a:rPr lang="en-GB" sz="1600" dirty="0">
                <a:solidFill>
                  <a:srgbClr val="0070C0"/>
                </a:solidFill>
                <a:latin typeface="+mj-lt"/>
                <a:ea typeface="Lato Light" panose="020F0502020204030203" pitchFamily="34" charset="0"/>
                <a:cs typeface="Mukta ExtraLight" panose="020B0000000000000000" pitchFamily="34" charset="77"/>
              </a:rPr>
              <a:t>: Fluctuations in economic markets, weather-related hazards, lack of public infrastructure </a:t>
            </a:r>
          </a:p>
        </p:txBody>
      </p:sp>
      <p:pic>
        <p:nvPicPr>
          <p:cNvPr id="40" name="Grafik 39">
            <a:extLst>
              <a:ext uri="{FF2B5EF4-FFF2-40B4-BE49-F238E27FC236}">
                <a16:creationId xmlns:a16="http://schemas.microsoft.com/office/drawing/2014/main" xmlns="" id="{A8F118A9-258C-4B84-8A26-595A40481F3C}"/>
              </a:ext>
            </a:extLst>
          </p:cNvPr>
          <p:cNvPicPr>
            <a:picLocks noChangeAspect="1"/>
          </p:cNvPicPr>
          <p:nvPr/>
        </p:nvPicPr>
        <p:blipFill>
          <a:blip r:embed="rId3"/>
          <a:stretch>
            <a:fillRect/>
          </a:stretch>
        </p:blipFill>
        <p:spPr>
          <a:xfrm>
            <a:off x="3766982" y="3457833"/>
            <a:ext cx="1420439" cy="1223819"/>
          </a:xfrm>
          <a:prstGeom prst="rect">
            <a:avLst/>
          </a:prstGeom>
        </p:spPr>
      </p:pic>
    </p:spTree>
    <p:extLst>
      <p:ext uri="{BB962C8B-B14F-4D97-AF65-F5344CB8AC3E}">
        <p14:creationId xmlns:p14="http://schemas.microsoft.com/office/powerpoint/2010/main" val="18033504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47864" y="655154"/>
            <a:ext cx="8852375" cy="697353"/>
          </a:xfrm>
        </p:spPr>
        <p:txBody>
          <a:bodyPr>
            <a:normAutofit/>
          </a:bodyPr>
          <a:lstStyle/>
          <a:p>
            <a:r>
              <a:rPr lang="en-GB" dirty="0"/>
              <a:t>How to identify risks: Root-Cause-Analy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5422" y="2166934"/>
            <a:ext cx="3126347" cy="388341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Root Cause Analysis is one of the essential instruments of corporate management.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t involves the recording of errors, their causes and the statistical evaluation of this data, which is followed by an evaluation and derived measures for error reduction.</a:t>
            </a:r>
          </a:p>
        </p:txBody>
      </p:sp>
      <p:sp>
        <p:nvSpPr>
          <p:cNvPr id="24" name="Shape 24627">
            <a:extLst>
              <a:ext uri="{FF2B5EF4-FFF2-40B4-BE49-F238E27FC236}">
                <a16:creationId xmlns:a16="http://schemas.microsoft.com/office/drawing/2014/main" xmlns="" id="{FC0D1B59-6836-404A-BA80-17418FB9A650}"/>
              </a:ext>
            </a:extLst>
          </p:cNvPr>
          <p:cNvSpPr/>
          <p:nvPr/>
        </p:nvSpPr>
        <p:spPr>
          <a:xfrm>
            <a:off x="5646705" y="2072620"/>
            <a:ext cx="2852200" cy="3930181"/>
          </a:xfrm>
          <a:custGeom>
            <a:avLst/>
            <a:gdLst/>
            <a:ahLst/>
            <a:cxnLst>
              <a:cxn ang="0">
                <a:pos x="wd2" y="hd2"/>
              </a:cxn>
              <a:cxn ang="5400000">
                <a:pos x="wd2" y="hd2"/>
              </a:cxn>
              <a:cxn ang="10800000">
                <a:pos x="wd2" y="hd2"/>
              </a:cxn>
              <a:cxn ang="16200000">
                <a:pos x="wd2" y="hd2"/>
              </a:cxn>
            </a:cxnLst>
            <a:rect l="0" t="0" r="r" b="b"/>
            <a:pathLst>
              <a:path w="21404" h="21491" extrusionOk="0">
                <a:moveTo>
                  <a:pt x="8906" y="0"/>
                </a:moveTo>
                <a:cubicBezTo>
                  <a:pt x="8908" y="3"/>
                  <a:pt x="8910" y="5"/>
                  <a:pt x="8912" y="8"/>
                </a:cubicBezTo>
                <a:cubicBezTo>
                  <a:pt x="8913" y="10"/>
                  <a:pt x="8913" y="12"/>
                  <a:pt x="8915" y="14"/>
                </a:cubicBezTo>
                <a:lnTo>
                  <a:pt x="8917" y="14"/>
                </a:lnTo>
                <a:lnTo>
                  <a:pt x="8917" y="12"/>
                </a:lnTo>
                <a:cubicBezTo>
                  <a:pt x="8918" y="9"/>
                  <a:pt x="8917" y="6"/>
                  <a:pt x="8915" y="4"/>
                </a:cubicBezTo>
                <a:cubicBezTo>
                  <a:pt x="8913" y="2"/>
                  <a:pt x="8910" y="1"/>
                  <a:pt x="8906" y="0"/>
                </a:cubicBezTo>
                <a:close/>
                <a:moveTo>
                  <a:pt x="8915" y="14"/>
                </a:moveTo>
                <a:cubicBezTo>
                  <a:pt x="8912" y="19"/>
                  <a:pt x="8903" y="21"/>
                  <a:pt x="8895" y="22"/>
                </a:cubicBezTo>
                <a:cubicBezTo>
                  <a:pt x="8862" y="29"/>
                  <a:pt x="8831" y="39"/>
                  <a:pt x="8804" y="55"/>
                </a:cubicBezTo>
                <a:cubicBezTo>
                  <a:pt x="9093" y="398"/>
                  <a:pt x="9413" y="727"/>
                  <a:pt x="9758" y="1041"/>
                </a:cubicBezTo>
                <a:cubicBezTo>
                  <a:pt x="10147" y="1395"/>
                  <a:pt x="10569" y="1730"/>
                  <a:pt x="11038" y="2028"/>
                </a:cubicBezTo>
                <a:cubicBezTo>
                  <a:pt x="11310" y="2202"/>
                  <a:pt x="11606" y="2374"/>
                  <a:pt x="11704" y="2629"/>
                </a:cubicBezTo>
                <a:cubicBezTo>
                  <a:pt x="11746" y="2738"/>
                  <a:pt x="11745" y="2848"/>
                  <a:pt x="11740" y="2960"/>
                </a:cubicBezTo>
                <a:cubicBezTo>
                  <a:pt x="11716" y="3435"/>
                  <a:pt x="11614" y="3919"/>
                  <a:pt x="11443" y="4380"/>
                </a:cubicBezTo>
                <a:cubicBezTo>
                  <a:pt x="11414" y="4457"/>
                  <a:pt x="11384" y="4534"/>
                  <a:pt x="11351" y="4610"/>
                </a:cubicBezTo>
                <a:lnTo>
                  <a:pt x="7752" y="2503"/>
                </a:lnTo>
                <a:lnTo>
                  <a:pt x="7596" y="2637"/>
                </a:lnTo>
                <a:cubicBezTo>
                  <a:pt x="8432" y="3131"/>
                  <a:pt x="9268" y="3627"/>
                  <a:pt x="10102" y="4123"/>
                </a:cubicBezTo>
                <a:cubicBezTo>
                  <a:pt x="10357" y="4275"/>
                  <a:pt x="10611" y="4431"/>
                  <a:pt x="10793" y="4629"/>
                </a:cubicBezTo>
                <a:cubicBezTo>
                  <a:pt x="10848" y="4688"/>
                  <a:pt x="10896" y="4751"/>
                  <a:pt x="10935" y="4817"/>
                </a:cubicBezTo>
                <a:cubicBezTo>
                  <a:pt x="10973" y="4882"/>
                  <a:pt x="11002" y="4949"/>
                  <a:pt x="11026" y="5019"/>
                </a:cubicBezTo>
                <a:cubicBezTo>
                  <a:pt x="11159" y="5404"/>
                  <a:pt x="11099" y="5798"/>
                  <a:pt x="11013" y="6186"/>
                </a:cubicBezTo>
                <a:cubicBezTo>
                  <a:pt x="10894" y="6716"/>
                  <a:pt x="10718" y="7250"/>
                  <a:pt x="10605" y="7783"/>
                </a:cubicBezTo>
                <a:cubicBezTo>
                  <a:pt x="10568" y="7956"/>
                  <a:pt x="10537" y="8130"/>
                  <a:pt x="10469" y="8297"/>
                </a:cubicBezTo>
                <a:cubicBezTo>
                  <a:pt x="10404" y="8455"/>
                  <a:pt x="10278" y="8611"/>
                  <a:pt x="10061" y="8620"/>
                </a:cubicBezTo>
                <a:cubicBezTo>
                  <a:pt x="9876" y="8629"/>
                  <a:pt x="9735" y="8520"/>
                  <a:pt x="9619" y="8412"/>
                </a:cubicBezTo>
                <a:cubicBezTo>
                  <a:pt x="9459" y="8263"/>
                  <a:pt x="9307" y="8108"/>
                  <a:pt x="9153" y="7955"/>
                </a:cubicBezTo>
                <a:cubicBezTo>
                  <a:pt x="9134" y="7936"/>
                  <a:pt x="9114" y="7916"/>
                  <a:pt x="9095" y="7896"/>
                </a:cubicBezTo>
                <a:cubicBezTo>
                  <a:pt x="9085" y="7887"/>
                  <a:pt x="9076" y="7877"/>
                  <a:pt x="9067" y="7866"/>
                </a:cubicBezTo>
                <a:cubicBezTo>
                  <a:pt x="9022" y="7811"/>
                  <a:pt x="9000" y="7748"/>
                  <a:pt x="8987" y="7684"/>
                </a:cubicBezTo>
                <a:cubicBezTo>
                  <a:pt x="8860" y="7096"/>
                  <a:pt x="9000" y="6491"/>
                  <a:pt x="9386" y="5966"/>
                </a:cubicBezTo>
                <a:lnTo>
                  <a:pt x="9350" y="5865"/>
                </a:lnTo>
                <a:cubicBezTo>
                  <a:pt x="9078" y="6185"/>
                  <a:pt x="8876" y="6533"/>
                  <a:pt x="8751" y="6898"/>
                </a:cubicBezTo>
                <a:cubicBezTo>
                  <a:pt x="8679" y="7106"/>
                  <a:pt x="8632" y="7320"/>
                  <a:pt x="8612" y="7534"/>
                </a:cubicBezTo>
                <a:cubicBezTo>
                  <a:pt x="8478" y="7365"/>
                  <a:pt x="8339" y="7195"/>
                  <a:pt x="8204" y="7025"/>
                </a:cubicBezTo>
                <a:cubicBezTo>
                  <a:pt x="8020" y="6793"/>
                  <a:pt x="7834" y="6562"/>
                  <a:pt x="7675" y="6321"/>
                </a:cubicBezTo>
                <a:cubicBezTo>
                  <a:pt x="7521" y="6087"/>
                  <a:pt x="7390" y="5845"/>
                  <a:pt x="7286" y="5597"/>
                </a:cubicBezTo>
                <a:cubicBezTo>
                  <a:pt x="7280" y="5632"/>
                  <a:pt x="7236" y="5657"/>
                  <a:pt x="7188" y="5652"/>
                </a:cubicBezTo>
                <a:cubicBezTo>
                  <a:pt x="7132" y="5646"/>
                  <a:pt x="7066" y="5630"/>
                  <a:pt x="7066" y="5666"/>
                </a:cubicBezTo>
                <a:cubicBezTo>
                  <a:pt x="7067" y="5696"/>
                  <a:pt x="7125" y="5701"/>
                  <a:pt x="7136" y="5672"/>
                </a:cubicBezTo>
                <a:cubicBezTo>
                  <a:pt x="7484" y="6392"/>
                  <a:pt x="7917" y="7090"/>
                  <a:pt x="8421" y="7755"/>
                </a:cubicBezTo>
                <a:cubicBezTo>
                  <a:pt x="8561" y="7939"/>
                  <a:pt x="8698" y="8124"/>
                  <a:pt x="8845" y="8305"/>
                </a:cubicBezTo>
                <a:cubicBezTo>
                  <a:pt x="8029" y="8074"/>
                  <a:pt x="7243" y="7792"/>
                  <a:pt x="6500" y="7460"/>
                </a:cubicBezTo>
                <a:cubicBezTo>
                  <a:pt x="5816" y="7154"/>
                  <a:pt x="5169" y="6807"/>
                  <a:pt x="4555" y="6430"/>
                </a:cubicBezTo>
                <a:cubicBezTo>
                  <a:pt x="3832" y="5988"/>
                  <a:pt x="3153" y="5507"/>
                  <a:pt x="2529" y="4985"/>
                </a:cubicBezTo>
                <a:lnTo>
                  <a:pt x="2390" y="5043"/>
                </a:lnTo>
                <a:cubicBezTo>
                  <a:pt x="2799" y="5457"/>
                  <a:pt x="3248" y="5846"/>
                  <a:pt x="3736" y="6208"/>
                </a:cubicBezTo>
                <a:cubicBezTo>
                  <a:pt x="4224" y="6570"/>
                  <a:pt x="4752" y="6905"/>
                  <a:pt x="5310" y="7209"/>
                </a:cubicBezTo>
                <a:cubicBezTo>
                  <a:pt x="5149" y="7306"/>
                  <a:pt x="4984" y="7399"/>
                  <a:pt x="4816" y="7488"/>
                </a:cubicBezTo>
                <a:cubicBezTo>
                  <a:pt x="4190" y="7818"/>
                  <a:pt x="3511" y="8093"/>
                  <a:pt x="2795" y="8305"/>
                </a:cubicBezTo>
                <a:cubicBezTo>
                  <a:pt x="2797" y="8307"/>
                  <a:pt x="2799" y="8309"/>
                  <a:pt x="2801" y="8311"/>
                </a:cubicBezTo>
                <a:cubicBezTo>
                  <a:pt x="2836" y="8347"/>
                  <a:pt x="2887" y="8375"/>
                  <a:pt x="2948" y="8380"/>
                </a:cubicBezTo>
                <a:cubicBezTo>
                  <a:pt x="3431" y="8270"/>
                  <a:pt x="3891" y="8114"/>
                  <a:pt x="4316" y="7915"/>
                </a:cubicBezTo>
                <a:cubicBezTo>
                  <a:pt x="4666" y="7751"/>
                  <a:pt x="4999" y="7557"/>
                  <a:pt x="5404" y="7484"/>
                </a:cubicBezTo>
                <a:cubicBezTo>
                  <a:pt x="5547" y="7458"/>
                  <a:pt x="5697" y="7449"/>
                  <a:pt x="5837" y="7484"/>
                </a:cubicBezTo>
                <a:cubicBezTo>
                  <a:pt x="5911" y="7502"/>
                  <a:pt x="5978" y="7533"/>
                  <a:pt x="6045" y="7563"/>
                </a:cubicBezTo>
                <a:cubicBezTo>
                  <a:pt x="6835" y="7919"/>
                  <a:pt x="7642" y="8275"/>
                  <a:pt x="8421" y="8639"/>
                </a:cubicBezTo>
                <a:cubicBezTo>
                  <a:pt x="8607" y="8726"/>
                  <a:pt x="8788" y="8813"/>
                  <a:pt x="8970" y="8903"/>
                </a:cubicBezTo>
                <a:cubicBezTo>
                  <a:pt x="8667" y="9042"/>
                  <a:pt x="8363" y="9179"/>
                  <a:pt x="8057" y="9314"/>
                </a:cubicBezTo>
                <a:cubicBezTo>
                  <a:pt x="7036" y="9763"/>
                  <a:pt x="5991" y="10183"/>
                  <a:pt x="4932" y="10582"/>
                </a:cubicBezTo>
                <a:cubicBezTo>
                  <a:pt x="4936" y="10587"/>
                  <a:pt x="4939" y="10591"/>
                  <a:pt x="4943" y="10596"/>
                </a:cubicBezTo>
                <a:cubicBezTo>
                  <a:pt x="4992" y="10652"/>
                  <a:pt x="5079" y="10682"/>
                  <a:pt x="5168" y="10679"/>
                </a:cubicBezTo>
                <a:cubicBezTo>
                  <a:pt x="5827" y="10431"/>
                  <a:pt x="6478" y="10170"/>
                  <a:pt x="7119" y="9898"/>
                </a:cubicBezTo>
                <a:cubicBezTo>
                  <a:pt x="7444" y="9761"/>
                  <a:pt x="7779" y="9620"/>
                  <a:pt x="8107" y="9494"/>
                </a:cubicBezTo>
                <a:cubicBezTo>
                  <a:pt x="8446" y="9364"/>
                  <a:pt x="8792" y="9248"/>
                  <a:pt x="9181" y="9267"/>
                </a:cubicBezTo>
                <a:cubicBezTo>
                  <a:pt x="9338" y="9275"/>
                  <a:pt x="9493" y="9307"/>
                  <a:pt x="9622" y="9373"/>
                </a:cubicBezTo>
                <a:cubicBezTo>
                  <a:pt x="9808" y="9467"/>
                  <a:pt x="9919" y="9617"/>
                  <a:pt x="10008" y="9771"/>
                </a:cubicBezTo>
                <a:cubicBezTo>
                  <a:pt x="10386" y="10425"/>
                  <a:pt x="10430" y="11144"/>
                  <a:pt x="10519" y="11849"/>
                </a:cubicBezTo>
                <a:cubicBezTo>
                  <a:pt x="10674" y="13094"/>
                  <a:pt x="10911" y="14437"/>
                  <a:pt x="9767" y="15374"/>
                </a:cubicBezTo>
                <a:cubicBezTo>
                  <a:pt x="9502" y="15591"/>
                  <a:pt x="9182" y="15768"/>
                  <a:pt x="8823" y="15892"/>
                </a:cubicBezTo>
                <a:cubicBezTo>
                  <a:pt x="8208" y="16104"/>
                  <a:pt x="7432" y="16220"/>
                  <a:pt x="6581" y="16319"/>
                </a:cubicBezTo>
                <a:cubicBezTo>
                  <a:pt x="5730" y="16418"/>
                  <a:pt x="4805" y="16500"/>
                  <a:pt x="3891" y="16643"/>
                </a:cubicBezTo>
                <a:cubicBezTo>
                  <a:pt x="3248" y="16744"/>
                  <a:pt x="2607" y="16862"/>
                  <a:pt x="2005" y="17009"/>
                </a:cubicBezTo>
                <a:cubicBezTo>
                  <a:pt x="1697" y="17085"/>
                  <a:pt x="1398" y="17167"/>
                  <a:pt x="1126" y="17282"/>
                </a:cubicBezTo>
                <a:cubicBezTo>
                  <a:pt x="977" y="17345"/>
                  <a:pt x="838" y="17416"/>
                  <a:pt x="694" y="17481"/>
                </a:cubicBezTo>
                <a:cubicBezTo>
                  <a:pt x="536" y="17552"/>
                  <a:pt x="370" y="17616"/>
                  <a:pt x="244" y="17725"/>
                </a:cubicBezTo>
                <a:cubicBezTo>
                  <a:pt x="45" y="17897"/>
                  <a:pt x="-179" y="18069"/>
                  <a:pt x="225" y="17895"/>
                </a:cubicBezTo>
                <a:cubicBezTo>
                  <a:pt x="833" y="17633"/>
                  <a:pt x="2236" y="17132"/>
                  <a:pt x="3896" y="16906"/>
                </a:cubicBezTo>
                <a:cubicBezTo>
                  <a:pt x="3777" y="17053"/>
                  <a:pt x="3509" y="17241"/>
                  <a:pt x="3019" y="17523"/>
                </a:cubicBezTo>
                <a:cubicBezTo>
                  <a:pt x="2849" y="17621"/>
                  <a:pt x="2695" y="17693"/>
                  <a:pt x="2581" y="17761"/>
                </a:cubicBezTo>
                <a:cubicBezTo>
                  <a:pt x="2334" y="17910"/>
                  <a:pt x="2368" y="17940"/>
                  <a:pt x="2659" y="17852"/>
                </a:cubicBezTo>
                <a:cubicBezTo>
                  <a:pt x="2794" y="17811"/>
                  <a:pt x="2989" y="17770"/>
                  <a:pt x="3183" y="17654"/>
                </a:cubicBezTo>
                <a:cubicBezTo>
                  <a:pt x="3687" y="17353"/>
                  <a:pt x="4054" y="17045"/>
                  <a:pt x="4483" y="16892"/>
                </a:cubicBezTo>
                <a:cubicBezTo>
                  <a:pt x="5131" y="16660"/>
                  <a:pt x="5815" y="16659"/>
                  <a:pt x="6403" y="16597"/>
                </a:cubicBezTo>
                <a:cubicBezTo>
                  <a:pt x="7000" y="16534"/>
                  <a:pt x="7522" y="16453"/>
                  <a:pt x="7888" y="16406"/>
                </a:cubicBezTo>
                <a:cubicBezTo>
                  <a:pt x="8538" y="16321"/>
                  <a:pt x="9044" y="16287"/>
                  <a:pt x="9531" y="16230"/>
                </a:cubicBezTo>
                <a:cubicBezTo>
                  <a:pt x="9192" y="16475"/>
                  <a:pt x="8934" y="16793"/>
                  <a:pt x="8618" y="17253"/>
                </a:cubicBezTo>
                <a:cubicBezTo>
                  <a:pt x="8398" y="17572"/>
                  <a:pt x="8114" y="17996"/>
                  <a:pt x="7638" y="18110"/>
                </a:cubicBezTo>
                <a:cubicBezTo>
                  <a:pt x="7218" y="18211"/>
                  <a:pt x="6787" y="18184"/>
                  <a:pt x="6442" y="18124"/>
                </a:cubicBezTo>
                <a:cubicBezTo>
                  <a:pt x="6024" y="18052"/>
                  <a:pt x="5974" y="18084"/>
                  <a:pt x="6375" y="18199"/>
                </a:cubicBezTo>
                <a:cubicBezTo>
                  <a:pt x="6726" y="18300"/>
                  <a:pt x="7180" y="18383"/>
                  <a:pt x="7649" y="18353"/>
                </a:cubicBezTo>
                <a:cubicBezTo>
                  <a:pt x="8163" y="18320"/>
                  <a:pt x="8692" y="17994"/>
                  <a:pt x="9100" y="17400"/>
                </a:cubicBezTo>
                <a:cubicBezTo>
                  <a:pt x="9455" y="16885"/>
                  <a:pt x="10054" y="16139"/>
                  <a:pt x="10255" y="16175"/>
                </a:cubicBezTo>
                <a:cubicBezTo>
                  <a:pt x="10517" y="16222"/>
                  <a:pt x="10428" y="16653"/>
                  <a:pt x="10249" y="16970"/>
                </a:cubicBezTo>
                <a:cubicBezTo>
                  <a:pt x="9333" y="18591"/>
                  <a:pt x="9705" y="18645"/>
                  <a:pt x="9250" y="18832"/>
                </a:cubicBezTo>
                <a:cubicBezTo>
                  <a:pt x="8931" y="18964"/>
                  <a:pt x="8058" y="19200"/>
                  <a:pt x="7385" y="19683"/>
                </a:cubicBezTo>
                <a:cubicBezTo>
                  <a:pt x="7110" y="19881"/>
                  <a:pt x="6911" y="20030"/>
                  <a:pt x="6764" y="20140"/>
                </a:cubicBezTo>
                <a:cubicBezTo>
                  <a:pt x="6526" y="20319"/>
                  <a:pt x="6569" y="20361"/>
                  <a:pt x="6850" y="20221"/>
                </a:cubicBezTo>
                <a:cubicBezTo>
                  <a:pt x="7038" y="20128"/>
                  <a:pt x="7281" y="20001"/>
                  <a:pt x="7574" y="19829"/>
                </a:cubicBezTo>
                <a:cubicBezTo>
                  <a:pt x="8411" y="19340"/>
                  <a:pt x="9041" y="19223"/>
                  <a:pt x="9331" y="19176"/>
                </a:cubicBezTo>
                <a:cubicBezTo>
                  <a:pt x="9171" y="19628"/>
                  <a:pt x="8882" y="19989"/>
                  <a:pt x="8587" y="20284"/>
                </a:cubicBezTo>
                <a:cubicBezTo>
                  <a:pt x="7706" y="21166"/>
                  <a:pt x="5443" y="21151"/>
                  <a:pt x="3986" y="21038"/>
                </a:cubicBezTo>
                <a:cubicBezTo>
                  <a:pt x="3218" y="20979"/>
                  <a:pt x="3601" y="21087"/>
                  <a:pt x="4028" y="21150"/>
                </a:cubicBezTo>
                <a:cubicBezTo>
                  <a:pt x="7086" y="21600"/>
                  <a:pt x="9355" y="21295"/>
                  <a:pt x="10061" y="18687"/>
                </a:cubicBezTo>
                <a:cubicBezTo>
                  <a:pt x="10413" y="17385"/>
                  <a:pt x="10684" y="17482"/>
                  <a:pt x="10968" y="16588"/>
                </a:cubicBezTo>
                <a:cubicBezTo>
                  <a:pt x="11065" y="16804"/>
                  <a:pt x="11249" y="17300"/>
                  <a:pt x="11182" y="18005"/>
                </a:cubicBezTo>
                <a:cubicBezTo>
                  <a:pt x="11158" y="18253"/>
                  <a:pt x="11149" y="18457"/>
                  <a:pt x="11149" y="18616"/>
                </a:cubicBezTo>
                <a:cubicBezTo>
                  <a:pt x="11147" y="18901"/>
                  <a:pt x="11224" y="18902"/>
                  <a:pt x="11296" y="18620"/>
                </a:cubicBezTo>
                <a:cubicBezTo>
                  <a:pt x="11334" y="18471"/>
                  <a:pt x="11382" y="18274"/>
                  <a:pt x="11437" y="18017"/>
                </a:cubicBezTo>
                <a:cubicBezTo>
                  <a:pt x="11686" y="16860"/>
                  <a:pt x="11283" y="15788"/>
                  <a:pt x="11723" y="15900"/>
                </a:cubicBezTo>
                <a:cubicBezTo>
                  <a:pt x="12147" y="16008"/>
                  <a:pt x="12576" y="17071"/>
                  <a:pt x="12361" y="17750"/>
                </a:cubicBezTo>
                <a:cubicBezTo>
                  <a:pt x="12326" y="17861"/>
                  <a:pt x="12285" y="17972"/>
                  <a:pt x="12250" y="18080"/>
                </a:cubicBezTo>
                <a:cubicBezTo>
                  <a:pt x="12064" y="18651"/>
                  <a:pt x="12228" y="18976"/>
                  <a:pt x="12347" y="19467"/>
                </a:cubicBezTo>
                <a:cubicBezTo>
                  <a:pt x="12378" y="19594"/>
                  <a:pt x="12408" y="19783"/>
                  <a:pt x="12100" y="20039"/>
                </a:cubicBezTo>
                <a:cubicBezTo>
                  <a:pt x="11896" y="20210"/>
                  <a:pt x="11752" y="20462"/>
                  <a:pt x="11601" y="20773"/>
                </a:cubicBezTo>
                <a:cubicBezTo>
                  <a:pt x="11498" y="20984"/>
                  <a:pt x="11296" y="21238"/>
                  <a:pt x="10979" y="21323"/>
                </a:cubicBezTo>
                <a:cubicBezTo>
                  <a:pt x="10895" y="21346"/>
                  <a:pt x="10808" y="21362"/>
                  <a:pt x="10721" y="21372"/>
                </a:cubicBezTo>
                <a:cubicBezTo>
                  <a:pt x="10173" y="21434"/>
                  <a:pt x="10084" y="21459"/>
                  <a:pt x="10638" y="21487"/>
                </a:cubicBezTo>
                <a:cubicBezTo>
                  <a:pt x="10765" y="21494"/>
                  <a:pt x="10897" y="21492"/>
                  <a:pt x="11026" y="21479"/>
                </a:cubicBezTo>
                <a:cubicBezTo>
                  <a:pt x="11381" y="21444"/>
                  <a:pt x="11763" y="21241"/>
                  <a:pt x="11959" y="20852"/>
                </a:cubicBezTo>
                <a:cubicBezTo>
                  <a:pt x="12154" y="20467"/>
                  <a:pt x="12421" y="20263"/>
                  <a:pt x="12744" y="20060"/>
                </a:cubicBezTo>
                <a:cubicBezTo>
                  <a:pt x="12782" y="20086"/>
                  <a:pt x="12820" y="20112"/>
                  <a:pt x="12861" y="20138"/>
                </a:cubicBezTo>
                <a:cubicBezTo>
                  <a:pt x="13615" y="20625"/>
                  <a:pt x="14036" y="20846"/>
                  <a:pt x="16355" y="20893"/>
                </a:cubicBezTo>
                <a:cubicBezTo>
                  <a:pt x="19073" y="20948"/>
                  <a:pt x="19722" y="21062"/>
                  <a:pt x="20368" y="21226"/>
                </a:cubicBezTo>
                <a:cubicBezTo>
                  <a:pt x="21030" y="21395"/>
                  <a:pt x="21127" y="21302"/>
                  <a:pt x="20617" y="21137"/>
                </a:cubicBezTo>
                <a:cubicBezTo>
                  <a:pt x="19887" y="20902"/>
                  <a:pt x="19390" y="20711"/>
                  <a:pt x="16385" y="20634"/>
                </a:cubicBezTo>
                <a:cubicBezTo>
                  <a:pt x="14698" y="20591"/>
                  <a:pt x="14167" y="20420"/>
                  <a:pt x="13699" y="20147"/>
                </a:cubicBezTo>
                <a:cubicBezTo>
                  <a:pt x="13595" y="20086"/>
                  <a:pt x="13495" y="20019"/>
                  <a:pt x="13385" y="19948"/>
                </a:cubicBezTo>
                <a:cubicBezTo>
                  <a:pt x="12768" y="19550"/>
                  <a:pt x="12576" y="19096"/>
                  <a:pt x="12714" y="18452"/>
                </a:cubicBezTo>
                <a:cubicBezTo>
                  <a:pt x="12940" y="18586"/>
                  <a:pt x="13246" y="18739"/>
                  <a:pt x="13768" y="18907"/>
                </a:cubicBezTo>
                <a:cubicBezTo>
                  <a:pt x="14026" y="18990"/>
                  <a:pt x="14229" y="19055"/>
                  <a:pt x="14387" y="19103"/>
                </a:cubicBezTo>
                <a:cubicBezTo>
                  <a:pt x="14718" y="19204"/>
                  <a:pt x="14756" y="19148"/>
                  <a:pt x="14448" y="18996"/>
                </a:cubicBezTo>
                <a:cubicBezTo>
                  <a:pt x="14310" y="18927"/>
                  <a:pt x="14136" y="18847"/>
                  <a:pt x="13924" y="18757"/>
                </a:cubicBezTo>
                <a:cubicBezTo>
                  <a:pt x="13422" y="18545"/>
                  <a:pt x="13119" y="18362"/>
                  <a:pt x="12941" y="18215"/>
                </a:cubicBezTo>
                <a:cubicBezTo>
                  <a:pt x="12815" y="18111"/>
                  <a:pt x="12817" y="17995"/>
                  <a:pt x="12861" y="17841"/>
                </a:cubicBezTo>
                <a:cubicBezTo>
                  <a:pt x="13045" y="17192"/>
                  <a:pt x="12987" y="16619"/>
                  <a:pt x="12841" y="16173"/>
                </a:cubicBezTo>
                <a:cubicBezTo>
                  <a:pt x="13133" y="16304"/>
                  <a:pt x="13524" y="16411"/>
                  <a:pt x="14010" y="16486"/>
                </a:cubicBezTo>
                <a:cubicBezTo>
                  <a:pt x="14129" y="16505"/>
                  <a:pt x="14507" y="16582"/>
                  <a:pt x="14674" y="16652"/>
                </a:cubicBezTo>
                <a:cubicBezTo>
                  <a:pt x="15318" y="16923"/>
                  <a:pt x="15817" y="17260"/>
                  <a:pt x="15779" y="18137"/>
                </a:cubicBezTo>
                <a:cubicBezTo>
                  <a:pt x="15748" y="18833"/>
                  <a:pt x="16094" y="19500"/>
                  <a:pt x="16624" y="19732"/>
                </a:cubicBezTo>
                <a:cubicBezTo>
                  <a:pt x="17009" y="19900"/>
                  <a:pt x="17457" y="19989"/>
                  <a:pt x="17826" y="20007"/>
                </a:cubicBezTo>
                <a:cubicBezTo>
                  <a:pt x="18282" y="20029"/>
                  <a:pt x="18275" y="19998"/>
                  <a:pt x="17842" y="19914"/>
                </a:cubicBezTo>
                <a:cubicBezTo>
                  <a:pt x="17522" y="19852"/>
                  <a:pt x="17146" y="19737"/>
                  <a:pt x="16799" y="19558"/>
                </a:cubicBezTo>
                <a:cubicBezTo>
                  <a:pt x="16345" y="19324"/>
                  <a:pt x="16274" y="18557"/>
                  <a:pt x="16302" y="18157"/>
                </a:cubicBezTo>
                <a:cubicBezTo>
                  <a:pt x="16346" y="17524"/>
                  <a:pt x="15998" y="17181"/>
                  <a:pt x="16144" y="16858"/>
                </a:cubicBezTo>
                <a:cubicBezTo>
                  <a:pt x="16176" y="16787"/>
                  <a:pt x="16410" y="16766"/>
                  <a:pt x="16544" y="16747"/>
                </a:cubicBezTo>
                <a:cubicBezTo>
                  <a:pt x="16965" y="16688"/>
                  <a:pt x="17309" y="16751"/>
                  <a:pt x="17693" y="16831"/>
                </a:cubicBezTo>
                <a:cubicBezTo>
                  <a:pt x="17879" y="16869"/>
                  <a:pt x="18038" y="16957"/>
                  <a:pt x="18123" y="17033"/>
                </a:cubicBezTo>
                <a:cubicBezTo>
                  <a:pt x="18323" y="17212"/>
                  <a:pt x="18596" y="17538"/>
                  <a:pt x="19358" y="17958"/>
                </a:cubicBezTo>
                <a:cubicBezTo>
                  <a:pt x="19609" y="18097"/>
                  <a:pt x="19810" y="18200"/>
                  <a:pt x="19966" y="18282"/>
                </a:cubicBezTo>
                <a:cubicBezTo>
                  <a:pt x="20127" y="18366"/>
                  <a:pt x="20223" y="18398"/>
                  <a:pt x="20244" y="18384"/>
                </a:cubicBezTo>
                <a:cubicBezTo>
                  <a:pt x="20266" y="18370"/>
                  <a:pt x="20214" y="18309"/>
                  <a:pt x="20079" y="18207"/>
                </a:cubicBezTo>
                <a:cubicBezTo>
                  <a:pt x="19944" y="18104"/>
                  <a:pt x="19770" y="17978"/>
                  <a:pt x="19552" y="17833"/>
                </a:cubicBezTo>
                <a:cubicBezTo>
                  <a:pt x="18902" y="17397"/>
                  <a:pt x="18659" y="17090"/>
                  <a:pt x="18564" y="16912"/>
                </a:cubicBezTo>
                <a:cubicBezTo>
                  <a:pt x="19161" y="16862"/>
                  <a:pt x="19727" y="16952"/>
                  <a:pt x="20219" y="17149"/>
                </a:cubicBezTo>
                <a:cubicBezTo>
                  <a:pt x="20317" y="17189"/>
                  <a:pt x="20408" y="17229"/>
                  <a:pt x="20500" y="17266"/>
                </a:cubicBezTo>
                <a:cubicBezTo>
                  <a:pt x="20590" y="17303"/>
                  <a:pt x="20681" y="17338"/>
                  <a:pt x="20761" y="17383"/>
                </a:cubicBezTo>
                <a:cubicBezTo>
                  <a:pt x="20921" y="17475"/>
                  <a:pt x="21037" y="17595"/>
                  <a:pt x="21127" y="17717"/>
                </a:cubicBezTo>
                <a:cubicBezTo>
                  <a:pt x="21176" y="17784"/>
                  <a:pt x="21246" y="17839"/>
                  <a:pt x="21330" y="17817"/>
                </a:cubicBezTo>
                <a:cubicBezTo>
                  <a:pt x="21421" y="17793"/>
                  <a:pt x="21412" y="17752"/>
                  <a:pt x="21386" y="17709"/>
                </a:cubicBezTo>
                <a:cubicBezTo>
                  <a:pt x="20598" y="16392"/>
                  <a:pt x="16566" y="16603"/>
                  <a:pt x="14481" y="16123"/>
                </a:cubicBezTo>
                <a:cubicBezTo>
                  <a:pt x="13848" y="15977"/>
                  <a:pt x="13311" y="15668"/>
                  <a:pt x="12963" y="15255"/>
                </a:cubicBezTo>
                <a:cubicBezTo>
                  <a:pt x="12558" y="14774"/>
                  <a:pt x="12448" y="14203"/>
                  <a:pt x="12353" y="13643"/>
                </a:cubicBezTo>
                <a:cubicBezTo>
                  <a:pt x="12236" y="12949"/>
                  <a:pt x="12129" y="12254"/>
                  <a:pt x="12095" y="11554"/>
                </a:cubicBezTo>
                <a:cubicBezTo>
                  <a:pt x="12059" y="10808"/>
                  <a:pt x="12114" y="10048"/>
                  <a:pt x="12483" y="9350"/>
                </a:cubicBezTo>
                <a:cubicBezTo>
                  <a:pt x="12511" y="9296"/>
                  <a:pt x="12542" y="9242"/>
                  <a:pt x="12599" y="9202"/>
                </a:cubicBezTo>
                <a:cubicBezTo>
                  <a:pt x="12674" y="9151"/>
                  <a:pt x="12777" y="9132"/>
                  <a:pt x="12879" y="9126"/>
                </a:cubicBezTo>
                <a:cubicBezTo>
                  <a:pt x="13228" y="9103"/>
                  <a:pt x="13560" y="9204"/>
                  <a:pt x="13890" y="9286"/>
                </a:cubicBezTo>
                <a:cubicBezTo>
                  <a:pt x="14318" y="9393"/>
                  <a:pt x="14758" y="9469"/>
                  <a:pt x="15206" y="9514"/>
                </a:cubicBezTo>
                <a:cubicBezTo>
                  <a:pt x="15263" y="9488"/>
                  <a:pt x="15311" y="9444"/>
                  <a:pt x="15325" y="9397"/>
                </a:cubicBezTo>
                <a:cubicBezTo>
                  <a:pt x="15326" y="9394"/>
                  <a:pt x="15325" y="9393"/>
                  <a:pt x="15325" y="9391"/>
                </a:cubicBezTo>
                <a:cubicBezTo>
                  <a:pt x="14595" y="9305"/>
                  <a:pt x="13877" y="9163"/>
                  <a:pt x="13199" y="8946"/>
                </a:cubicBezTo>
                <a:cubicBezTo>
                  <a:pt x="13144" y="8928"/>
                  <a:pt x="13088" y="8910"/>
                  <a:pt x="13033" y="8891"/>
                </a:cubicBezTo>
                <a:cubicBezTo>
                  <a:pt x="12969" y="8870"/>
                  <a:pt x="12905" y="8848"/>
                  <a:pt x="12841" y="8827"/>
                </a:cubicBezTo>
                <a:cubicBezTo>
                  <a:pt x="12922" y="8758"/>
                  <a:pt x="13006" y="8692"/>
                  <a:pt x="13094" y="8628"/>
                </a:cubicBezTo>
                <a:cubicBezTo>
                  <a:pt x="13271" y="8500"/>
                  <a:pt x="13460" y="8380"/>
                  <a:pt x="13657" y="8269"/>
                </a:cubicBezTo>
                <a:cubicBezTo>
                  <a:pt x="14961" y="7529"/>
                  <a:pt x="16495" y="7033"/>
                  <a:pt x="18122" y="6825"/>
                </a:cubicBezTo>
                <a:cubicBezTo>
                  <a:pt x="18149" y="6767"/>
                  <a:pt x="18151" y="6695"/>
                  <a:pt x="18095" y="6651"/>
                </a:cubicBezTo>
                <a:cubicBezTo>
                  <a:pt x="18093" y="6649"/>
                  <a:pt x="18091" y="6648"/>
                  <a:pt x="18089" y="6647"/>
                </a:cubicBezTo>
                <a:cubicBezTo>
                  <a:pt x="18087" y="6645"/>
                  <a:pt x="18085" y="6644"/>
                  <a:pt x="18084" y="6643"/>
                </a:cubicBezTo>
                <a:cubicBezTo>
                  <a:pt x="17107" y="6775"/>
                  <a:pt x="16155" y="6982"/>
                  <a:pt x="15242" y="7266"/>
                </a:cubicBezTo>
                <a:cubicBezTo>
                  <a:pt x="14744" y="7420"/>
                  <a:pt x="14261" y="7603"/>
                  <a:pt x="13793" y="7799"/>
                </a:cubicBezTo>
                <a:cubicBezTo>
                  <a:pt x="13823" y="7728"/>
                  <a:pt x="13855" y="7656"/>
                  <a:pt x="13888" y="7585"/>
                </a:cubicBezTo>
                <a:cubicBezTo>
                  <a:pt x="14139" y="7044"/>
                  <a:pt x="14487" y="6528"/>
                  <a:pt x="14917" y="6044"/>
                </a:cubicBezTo>
                <a:cubicBezTo>
                  <a:pt x="14913" y="6043"/>
                  <a:pt x="14910" y="6043"/>
                  <a:pt x="14906" y="6042"/>
                </a:cubicBezTo>
                <a:cubicBezTo>
                  <a:pt x="14845" y="6032"/>
                  <a:pt x="14781" y="6028"/>
                  <a:pt x="14726" y="6050"/>
                </a:cubicBezTo>
                <a:cubicBezTo>
                  <a:pt x="14419" y="6353"/>
                  <a:pt x="14162" y="6679"/>
                  <a:pt x="13954" y="7023"/>
                </a:cubicBezTo>
                <a:cubicBezTo>
                  <a:pt x="13780" y="7312"/>
                  <a:pt x="13639" y="7615"/>
                  <a:pt x="13383" y="7870"/>
                </a:cubicBezTo>
                <a:cubicBezTo>
                  <a:pt x="13287" y="7965"/>
                  <a:pt x="13177" y="8051"/>
                  <a:pt x="13063" y="8135"/>
                </a:cubicBezTo>
                <a:cubicBezTo>
                  <a:pt x="12920" y="8240"/>
                  <a:pt x="12771" y="8341"/>
                  <a:pt x="12611" y="8432"/>
                </a:cubicBezTo>
                <a:cubicBezTo>
                  <a:pt x="12403" y="8551"/>
                  <a:pt x="12178" y="8652"/>
                  <a:pt x="11937" y="8732"/>
                </a:cubicBezTo>
                <a:cubicBezTo>
                  <a:pt x="11801" y="8266"/>
                  <a:pt x="11738" y="7792"/>
                  <a:pt x="11748" y="7316"/>
                </a:cubicBezTo>
                <a:cubicBezTo>
                  <a:pt x="11760" y="6754"/>
                  <a:pt x="11880" y="6182"/>
                  <a:pt x="12314" y="5717"/>
                </a:cubicBezTo>
                <a:cubicBezTo>
                  <a:pt x="12650" y="5356"/>
                  <a:pt x="13142" y="5097"/>
                  <a:pt x="13657" y="4877"/>
                </a:cubicBezTo>
                <a:cubicBezTo>
                  <a:pt x="14973" y="4315"/>
                  <a:pt x="16452" y="3987"/>
                  <a:pt x="17975" y="3917"/>
                </a:cubicBezTo>
                <a:cubicBezTo>
                  <a:pt x="17974" y="3915"/>
                  <a:pt x="17972" y="3913"/>
                  <a:pt x="17970" y="3911"/>
                </a:cubicBezTo>
                <a:cubicBezTo>
                  <a:pt x="17934" y="3872"/>
                  <a:pt x="17888" y="3840"/>
                  <a:pt x="17842" y="3808"/>
                </a:cubicBezTo>
                <a:cubicBezTo>
                  <a:pt x="17453" y="3822"/>
                  <a:pt x="17066" y="3854"/>
                  <a:pt x="16685" y="3901"/>
                </a:cubicBezTo>
                <a:cubicBezTo>
                  <a:pt x="16304" y="3948"/>
                  <a:pt x="15927" y="4010"/>
                  <a:pt x="15555" y="4089"/>
                </a:cubicBezTo>
                <a:cubicBezTo>
                  <a:pt x="15855" y="3706"/>
                  <a:pt x="16144" y="3318"/>
                  <a:pt x="16421" y="2926"/>
                </a:cubicBezTo>
                <a:cubicBezTo>
                  <a:pt x="16698" y="2535"/>
                  <a:pt x="16964" y="2139"/>
                  <a:pt x="17218" y="1739"/>
                </a:cubicBezTo>
                <a:lnTo>
                  <a:pt x="17126" y="1691"/>
                </a:lnTo>
                <a:cubicBezTo>
                  <a:pt x="16854" y="2039"/>
                  <a:pt x="16595" y="2392"/>
                  <a:pt x="16349" y="2750"/>
                </a:cubicBezTo>
                <a:cubicBezTo>
                  <a:pt x="16056" y="3176"/>
                  <a:pt x="15779" y="3611"/>
                  <a:pt x="15381" y="3990"/>
                </a:cubicBezTo>
                <a:cubicBezTo>
                  <a:pt x="15295" y="4071"/>
                  <a:pt x="15202" y="4151"/>
                  <a:pt x="15078" y="4200"/>
                </a:cubicBezTo>
                <a:cubicBezTo>
                  <a:pt x="15018" y="4224"/>
                  <a:pt x="14952" y="4240"/>
                  <a:pt x="14887" y="4257"/>
                </a:cubicBezTo>
                <a:cubicBezTo>
                  <a:pt x="14280" y="4410"/>
                  <a:pt x="13703" y="4612"/>
                  <a:pt x="13152" y="4855"/>
                </a:cubicBezTo>
                <a:cubicBezTo>
                  <a:pt x="12733" y="5040"/>
                  <a:pt x="12332" y="5247"/>
                  <a:pt x="11953" y="5474"/>
                </a:cubicBezTo>
                <a:cubicBezTo>
                  <a:pt x="11976" y="5255"/>
                  <a:pt x="11993" y="5037"/>
                  <a:pt x="12012" y="4819"/>
                </a:cubicBezTo>
                <a:cubicBezTo>
                  <a:pt x="12038" y="4506"/>
                  <a:pt x="12064" y="4186"/>
                  <a:pt x="12136" y="3880"/>
                </a:cubicBezTo>
                <a:cubicBezTo>
                  <a:pt x="12207" y="3583"/>
                  <a:pt x="12322" y="3298"/>
                  <a:pt x="12508" y="3025"/>
                </a:cubicBezTo>
                <a:cubicBezTo>
                  <a:pt x="12650" y="2817"/>
                  <a:pt x="12827" y="2626"/>
                  <a:pt x="13041" y="2459"/>
                </a:cubicBezTo>
                <a:cubicBezTo>
                  <a:pt x="13258" y="2289"/>
                  <a:pt x="13513" y="2145"/>
                  <a:pt x="13796" y="2034"/>
                </a:cubicBezTo>
                <a:cubicBezTo>
                  <a:pt x="13794" y="2032"/>
                  <a:pt x="13792" y="2030"/>
                  <a:pt x="13790" y="2028"/>
                </a:cubicBezTo>
                <a:cubicBezTo>
                  <a:pt x="13758" y="1993"/>
                  <a:pt x="13725" y="1960"/>
                  <a:pt x="13691" y="1925"/>
                </a:cubicBezTo>
                <a:cubicBezTo>
                  <a:pt x="13433" y="2049"/>
                  <a:pt x="13188" y="2186"/>
                  <a:pt x="12958" y="2336"/>
                </a:cubicBezTo>
                <a:cubicBezTo>
                  <a:pt x="12682" y="2515"/>
                  <a:pt x="12430" y="2713"/>
                  <a:pt x="12203" y="2926"/>
                </a:cubicBezTo>
                <a:cubicBezTo>
                  <a:pt x="12240" y="2518"/>
                  <a:pt x="12280" y="2109"/>
                  <a:pt x="12322" y="1701"/>
                </a:cubicBezTo>
                <a:cubicBezTo>
                  <a:pt x="12363" y="1307"/>
                  <a:pt x="12405" y="913"/>
                  <a:pt x="12450" y="520"/>
                </a:cubicBezTo>
                <a:lnTo>
                  <a:pt x="12089" y="526"/>
                </a:lnTo>
                <a:cubicBezTo>
                  <a:pt x="12049" y="823"/>
                  <a:pt x="12006" y="1121"/>
                  <a:pt x="11959" y="1418"/>
                </a:cubicBezTo>
                <a:cubicBezTo>
                  <a:pt x="11912" y="1714"/>
                  <a:pt x="11862" y="2011"/>
                  <a:pt x="11809" y="2307"/>
                </a:cubicBezTo>
                <a:cubicBezTo>
                  <a:pt x="11744" y="2273"/>
                  <a:pt x="11677" y="2239"/>
                  <a:pt x="11612" y="2204"/>
                </a:cubicBezTo>
                <a:cubicBezTo>
                  <a:pt x="10518" y="1616"/>
                  <a:pt x="9605" y="867"/>
                  <a:pt x="8915" y="14"/>
                </a:cubicBezTo>
                <a:close/>
              </a:path>
            </a:pathLst>
          </a:custGeom>
          <a:gradFill flip="none" rotWithShape="1">
            <a:gsLst>
              <a:gs pos="98000">
                <a:schemeClr val="accent2">
                  <a:shade val="30000"/>
                  <a:satMod val="115000"/>
                </a:schemeClr>
              </a:gs>
              <a:gs pos="39831">
                <a:schemeClr val="accent6"/>
              </a:gs>
              <a:gs pos="71000">
                <a:schemeClr val="accent2">
                  <a:shade val="67500"/>
                  <a:satMod val="115000"/>
                </a:schemeClr>
              </a:gs>
              <a:gs pos="0">
                <a:schemeClr val="accent6"/>
              </a:gs>
            </a:gsLst>
            <a:lin ang="5400000" scaled="0"/>
            <a:tileRect/>
          </a:gra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25" name="Shape 24628">
            <a:extLst>
              <a:ext uri="{FF2B5EF4-FFF2-40B4-BE49-F238E27FC236}">
                <a16:creationId xmlns:a16="http://schemas.microsoft.com/office/drawing/2014/main" xmlns="" id="{E9F764DC-6D0B-4F6B-A686-D1D05677FF67}"/>
              </a:ext>
            </a:extLst>
          </p:cNvPr>
          <p:cNvSpPr/>
          <p:nvPr/>
        </p:nvSpPr>
        <p:spPr>
          <a:xfrm rot="1680000">
            <a:off x="7686471" y="378338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6" name="Shape 24629">
            <a:extLst>
              <a:ext uri="{FF2B5EF4-FFF2-40B4-BE49-F238E27FC236}">
                <a16:creationId xmlns:a16="http://schemas.microsoft.com/office/drawing/2014/main" xmlns="" id="{38DD390E-BFF5-48EB-B3C6-E83FF2D02B5A}"/>
              </a:ext>
            </a:extLst>
          </p:cNvPr>
          <p:cNvSpPr/>
          <p:nvPr/>
        </p:nvSpPr>
        <p:spPr>
          <a:xfrm rot="4320000">
            <a:off x="7497987" y="390260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7" name="Shape 24630">
            <a:extLst>
              <a:ext uri="{FF2B5EF4-FFF2-40B4-BE49-F238E27FC236}">
                <a16:creationId xmlns:a16="http://schemas.microsoft.com/office/drawing/2014/main" xmlns="" id="{D8BDD7CD-33EC-41CB-8C78-0B4F60DFCACB}"/>
              </a:ext>
            </a:extLst>
          </p:cNvPr>
          <p:cNvSpPr/>
          <p:nvPr/>
        </p:nvSpPr>
        <p:spPr>
          <a:xfrm rot="18060000">
            <a:off x="7542006" y="356223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4" name="Shape 24631">
            <a:extLst>
              <a:ext uri="{FF2B5EF4-FFF2-40B4-BE49-F238E27FC236}">
                <a16:creationId xmlns:a16="http://schemas.microsoft.com/office/drawing/2014/main" xmlns="" id="{F8F67B29-8BC3-4F4C-8CF1-1FE75E0E0542}"/>
              </a:ext>
            </a:extLst>
          </p:cNvPr>
          <p:cNvSpPr/>
          <p:nvPr/>
        </p:nvSpPr>
        <p:spPr>
          <a:xfrm rot="3840000">
            <a:off x="7772139" y="3501423"/>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5" name="Shape 24632">
            <a:extLst>
              <a:ext uri="{FF2B5EF4-FFF2-40B4-BE49-F238E27FC236}">
                <a16:creationId xmlns:a16="http://schemas.microsoft.com/office/drawing/2014/main" xmlns="" id="{DD99CF3C-C7BC-4ED4-B5F8-B758A06778EF}"/>
              </a:ext>
            </a:extLst>
          </p:cNvPr>
          <p:cNvSpPr/>
          <p:nvPr/>
        </p:nvSpPr>
        <p:spPr>
          <a:xfrm rot="2160000">
            <a:off x="7973854" y="341729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6" name="Shape 24633">
            <a:extLst>
              <a:ext uri="{FF2B5EF4-FFF2-40B4-BE49-F238E27FC236}">
                <a16:creationId xmlns:a16="http://schemas.microsoft.com/office/drawing/2014/main" xmlns="" id="{A343D25A-BF95-4BDE-B20A-6C0AD1FB4ED3}"/>
              </a:ext>
            </a:extLst>
          </p:cNvPr>
          <p:cNvSpPr/>
          <p:nvPr/>
        </p:nvSpPr>
        <p:spPr>
          <a:xfrm rot="20340000">
            <a:off x="8100113" y="32118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7" name="Shape 24634">
            <a:extLst>
              <a:ext uri="{FF2B5EF4-FFF2-40B4-BE49-F238E27FC236}">
                <a16:creationId xmlns:a16="http://schemas.microsoft.com/office/drawing/2014/main" xmlns="" id="{DFE698D9-D36B-4D4D-8590-A25D8193D3FA}"/>
              </a:ext>
            </a:extLst>
          </p:cNvPr>
          <p:cNvSpPr/>
          <p:nvPr/>
        </p:nvSpPr>
        <p:spPr>
          <a:xfrm rot="5640000" flipH="1">
            <a:off x="7692231" y="315261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8" name="Shape 24635">
            <a:extLst>
              <a:ext uri="{FF2B5EF4-FFF2-40B4-BE49-F238E27FC236}">
                <a16:creationId xmlns:a16="http://schemas.microsoft.com/office/drawing/2014/main" xmlns="" id="{71FAB982-CF2A-42CB-887E-49A68893E2BE}"/>
              </a:ext>
            </a:extLst>
          </p:cNvPr>
          <p:cNvSpPr/>
          <p:nvPr/>
        </p:nvSpPr>
        <p:spPr>
          <a:xfrm rot="5820000" flipH="1">
            <a:off x="7892730" y="310041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9" name="Shape 24636">
            <a:extLst>
              <a:ext uri="{FF2B5EF4-FFF2-40B4-BE49-F238E27FC236}">
                <a16:creationId xmlns:a16="http://schemas.microsoft.com/office/drawing/2014/main" xmlns="" id="{FB773E6F-4D1B-4295-934C-081D9A4433EF}"/>
              </a:ext>
            </a:extLst>
          </p:cNvPr>
          <p:cNvSpPr/>
          <p:nvPr/>
        </p:nvSpPr>
        <p:spPr>
          <a:xfrm rot="6000000" flipH="1">
            <a:off x="7484759" y="31712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0" name="Shape 24637">
            <a:extLst>
              <a:ext uri="{FF2B5EF4-FFF2-40B4-BE49-F238E27FC236}">
                <a16:creationId xmlns:a16="http://schemas.microsoft.com/office/drawing/2014/main" xmlns="" id="{956D605F-D183-4380-9DC4-C9452CCC65C4}"/>
              </a:ext>
            </a:extLst>
          </p:cNvPr>
          <p:cNvSpPr/>
          <p:nvPr/>
        </p:nvSpPr>
        <p:spPr>
          <a:xfrm rot="6300000" flipH="1">
            <a:off x="7826087" y="235428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1" name="Shape 24638">
            <a:extLst>
              <a:ext uri="{FF2B5EF4-FFF2-40B4-BE49-F238E27FC236}">
                <a16:creationId xmlns:a16="http://schemas.microsoft.com/office/drawing/2014/main" xmlns="" id="{E53162DA-B56F-4CA3-B892-2CBD0786BBEC}"/>
              </a:ext>
            </a:extLst>
          </p:cNvPr>
          <p:cNvSpPr/>
          <p:nvPr/>
        </p:nvSpPr>
        <p:spPr>
          <a:xfrm rot="21180000">
            <a:off x="8030470" y="271389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4" name="Shape 24639">
            <a:extLst>
              <a:ext uri="{FF2B5EF4-FFF2-40B4-BE49-F238E27FC236}">
                <a16:creationId xmlns:a16="http://schemas.microsoft.com/office/drawing/2014/main" xmlns="" id="{14F9313A-CD82-49BE-9221-07439E4E5164}"/>
              </a:ext>
            </a:extLst>
          </p:cNvPr>
          <p:cNvSpPr/>
          <p:nvPr/>
        </p:nvSpPr>
        <p:spPr>
          <a:xfrm rot="1800000">
            <a:off x="7891141" y="2866866"/>
            <a:ext cx="211185" cy="140686"/>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6" name="Shape 24640">
            <a:extLst>
              <a:ext uri="{FF2B5EF4-FFF2-40B4-BE49-F238E27FC236}">
                <a16:creationId xmlns:a16="http://schemas.microsoft.com/office/drawing/2014/main" xmlns="" id="{9C1990ED-4477-4B54-A72A-1914F515A6DE}"/>
              </a:ext>
            </a:extLst>
          </p:cNvPr>
          <p:cNvSpPr/>
          <p:nvPr/>
        </p:nvSpPr>
        <p:spPr>
          <a:xfrm rot="1800000">
            <a:off x="7704155" y="292909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8" name="Shape 24641">
            <a:extLst>
              <a:ext uri="{FF2B5EF4-FFF2-40B4-BE49-F238E27FC236}">
                <a16:creationId xmlns:a16="http://schemas.microsoft.com/office/drawing/2014/main" xmlns="" id="{89809A11-F607-48E0-BB80-1C88F305A6E8}"/>
              </a:ext>
            </a:extLst>
          </p:cNvPr>
          <p:cNvSpPr/>
          <p:nvPr/>
        </p:nvSpPr>
        <p:spPr>
          <a:xfrm rot="6360000" flipH="1">
            <a:off x="7834317" y="2634270"/>
            <a:ext cx="200665" cy="133678"/>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0" name="Shape 24642">
            <a:extLst>
              <a:ext uri="{FF2B5EF4-FFF2-40B4-BE49-F238E27FC236}">
                <a16:creationId xmlns:a16="http://schemas.microsoft.com/office/drawing/2014/main" xmlns="" id="{F8FECA49-D786-4CDA-8FDF-4E698DF55897}"/>
              </a:ext>
            </a:extLst>
          </p:cNvPr>
          <p:cNvSpPr/>
          <p:nvPr/>
        </p:nvSpPr>
        <p:spPr>
          <a:xfrm rot="1800000">
            <a:off x="7559815" y="2978170"/>
            <a:ext cx="128976" cy="8592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3" name="Shape 24643">
            <a:extLst>
              <a:ext uri="{FF2B5EF4-FFF2-40B4-BE49-F238E27FC236}">
                <a16:creationId xmlns:a16="http://schemas.microsoft.com/office/drawing/2014/main" xmlns="" id="{D203D837-0909-4B83-B2BF-3047077902DE}"/>
              </a:ext>
            </a:extLst>
          </p:cNvPr>
          <p:cNvSpPr/>
          <p:nvPr/>
        </p:nvSpPr>
        <p:spPr>
          <a:xfrm rot="6000000" flipH="1">
            <a:off x="7503742" y="265382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6" name="Shape 24644">
            <a:extLst>
              <a:ext uri="{FF2B5EF4-FFF2-40B4-BE49-F238E27FC236}">
                <a16:creationId xmlns:a16="http://schemas.microsoft.com/office/drawing/2014/main" xmlns="" id="{3779B7D5-9BC8-431A-A708-C9025C725FEA}"/>
              </a:ext>
            </a:extLst>
          </p:cNvPr>
          <p:cNvSpPr/>
          <p:nvPr/>
        </p:nvSpPr>
        <p:spPr>
          <a:xfrm rot="4440000" flipH="1">
            <a:off x="7291313" y="27532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7" name="Shape 24645">
            <a:extLst>
              <a:ext uri="{FF2B5EF4-FFF2-40B4-BE49-F238E27FC236}">
                <a16:creationId xmlns:a16="http://schemas.microsoft.com/office/drawing/2014/main" xmlns="" id="{F1F1B2A8-E0C1-4032-95E1-E2C49E0019A5}"/>
              </a:ext>
            </a:extLst>
          </p:cNvPr>
          <p:cNvSpPr/>
          <p:nvPr/>
        </p:nvSpPr>
        <p:spPr>
          <a:xfrm rot="5340000" flipH="1">
            <a:off x="7200612" y="1992265"/>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8" name="Shape 24646">
            <a:extLst>
              <a:ext uri="{FF2B5EF4-FFF2-40B4-BE49-F238E27FC236}">
                <a16:creationId xmlns:a16="http://schemas.microsoft.com/office/drawing/2014/main" xmlns="" id="{3EDA5EE3-AFBC-460C-957D-88F875CF5E0B}"/>
              </a:ext>
            </a:extLst>
          </p:cNvPr>
          <p:cNvSpPr/>
          <p:nvPr/>
        </p:nvSpPr>
        <p:spPr>
          <a:xfrm rot="6900000" flipH="1">
            <a:off x="7335820"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9" name="Shape 24647">
            <a:extLst>
              <a:ext uri="{FF2B5EF4-FFF2-40B4-BE49-F238E27FC236}">
                <a16:creationId xmlns:a16="http://schemas.microsoft.com/office/drawing/2014/main" xmlns="" id="{1850B5B3-C1D3-4AFA-A9F2-DAB6EDA9AE3B}"/>
              </a:ext>
            </a:extLst>
          </p:cNvPr>
          <p:cNvSpPr/>
          <p:nvPr/>
        </p:nvSpPr>
        <p:spPr>
          <a:xfrm rot="8400000" flipH="1">
            <a:off x="7494860" y="230972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0" name="Shape 24648">
            <a:extLst>
              <a:ext uri="{FF2B5EF4-FFF2-40B4-BE49-F238E27FC236}">
                <a16:creationId xmlns:a16="http://schemas.microsoft.com/office/drawing/2014/main" xmlns="" id="{999AD146-1DAE-430B-8247-368D10D23E63}"/>
              </a:ext>
            </a:extLst>
          </p:cNvPr>
          <p:cNvSpPr/>
          <p:nvPr/>
        </p:nvSpPr>
        <p:spPr>
          <a:xfrm rot="14700000">
            <a:off x="7056528"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1" name="Shape 24649">
            <a:extLst>
              <a:ext uri="{FF2B5EF4-FFF2-40B4-BE49-F238E27FC236}">
                <a16:creationId xmlns:a16="http://schemas.microsoft.com/office/drawing/2014/main" xmlns="" id="{97C17419-6E1F-49E1-A7AF-BDD79A55A28E}"/>
              </a:ext>
            </a:extLst>
          </p:cNvPr>
          <p:cNvSpPr/>
          <p:nvPr/>
        </p:nvSpPr>
        <p:spPr>
          <a:xfrm rot="5160000" flipH="1">
            <a:off x="7402450" y="2565800"/>
            <a:ext cx="187583" cy="124963"/>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6" name="Shape 24650">
            <a:extLst>
              <a:ext uri="{FF2B5EF4-FFF2-40B4-BE49-F238E27FC236}">
                <a16:creationId xmlns:a16="http://schemas.microsoft.com/office/drawing/2014/main" xmlns="" id="{85B1BB0A-3EF7-4D95-8AF2-10F1EC5500CB}"/>
              </a:ext>
            </a:extLst>
          </p:cNvPr>
          <p:cNvSpPr/>
          <p:nvPr/>
        </p:nvSpPr>
        <p:spPr>
          <a:xfrm rot="3480000" flipH="1">
            <a:off x="6784026" y="210353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7" name="Shape 24651">
            <a:extLst>
              <a:ext uri="{FF2B5EF4-FFF2-40B4-BE49-F238E27FC236}">
                <a16:creationId xmlns:a16="http://schemas.microsoft.com/office/drawing/2014/main" xmlns="" id="{9F069FC5-7358-4978-816B-2EBC1239FA69}"/>
              </a:ext>
            </a:extLst>
          </p:cNvPr>
          <p:cNvSpPr/>
          <p:nvPr/>
        </p:nvSpPr>
        <p:spPr>
          <a:xfrm rot="2580000" flipH="1">
            <a:off x="6521680" y="241047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8" name="Shape 24652">
            <a:extLst>
              <a:ext uri="{FF2B5EF4-FFF2-40B4-BE49-F238E27FC236}">
                <a16:creationId xmlns:a16="http://schemas.microsoft.com/office/drawing/2014/main" xmlns="" id="{6690FB9B-DBD6-4373-A09B-E1743629BAE0}"/>
              </a:ext>
            </a:extLst>
          </p:cNvPr>
          <p:cNvSpPr/>
          <p:nvPr/>
        </p:nvSpPr>
        <p:spPr>
          <a:xfrm rot="5520000" flipH="1">
            <a:off x="6758325" y="23997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9" name="Shape 24653">
            <a:extLst>
              <a:ext uri="{FF2B5EF4-FFF2-40B4-BE49-F238E27FC236}">
                <a16:creationId xmlns:a16="http://schemas.microsoft.com/office/drawing/2014/main" xmlns="" id="{9FB12439-FB66-4FD2-882A-DFB109F4089B}"/>
              </a:ext>
            </a:extLst>
          </p:cNvPr>
          <p:cNvSpPr/>
          <p:nvPr/>
        </p:nvSpPr>
        <p:spPr>
          <a:xfrm rot="20880000" flipH="1">
            <a:off x="6548897" y="2661329"/>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0" name="Shape 24654">
            <a:extLst>
              <a:ext uri="{FF2B5EF4-FFF2-40B4-BE49-F238E27FC236}">
                <a16:creationId xmlns:a16="http://schemas.microsoft.com/office/drawing/2014/main" xmlns="" id="{614163D5-141B-4996-BAFC-22D08B82781B}"/>
              </a:ext>
            </a:extLst>
          </p:cNvPr>
          <p:cNvSpPr/>
          <p:nvPr/>
        </p:nvSpPr>
        <p:spPr>
          <a:xfrm rot="20880000" flipH="1">
            <a:off x="6885014" y="2900686"/>
            <a:ext cx="208807"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1" name="Shape 24655">
            <a:extLst>
              <a:ext uri="{FF2B5EF4-FFF2-40B4-BE49-F238E27FC236}">
                <a16:creationId xmlns:a16="http://schemas.microsoft.com/office/drawing/2014/main" xmlns="" id="{D76D1C52-BF24-49FE-8394-2770D824B44D}"/>
              </a:ext>
            </a:extLst>
          </p:cNvPr>
          <p:cNvSpPr/>
          <p:nvPr/>
        </p:nvSpPr>
        <p:spPr>
          <a:xfrm rot="17100000">
            <a:off x="7055926" y="2680546"/>
            <a:ext cx="208808"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2" name="Shape 24656">
            <a:extLst>
              <a:ext uri="{FF2B5EF4-FFF2-40B4-BE49-F238E27FC236}">
                <a16:creationId xmlns:a16="http://schemas.microsoft.com/office/drawing/2014/main" xmlns="" id="{E2131F10-5804-422F-B249-E501C707BC03}"/>
              </a:ext>
            </a:extLst>
          </p:cNvPr>
          <p:cNvSpPr/>
          <p:nvPr/>
        </p:nvSpPr>
        <p:spPr>
          <a:xfrm rot="3780000" flipH="1">
            <a:off x="6522526" y="3051097"/>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3" name="Shape 24657">
            <a:extLst>
              <a:ext uri="{FF2B5EF4-FFF2-40B4-BE49-F238E27FC236}">
                <a16:creationId xmlns:a16="http://schemas.microsoft.com/office/drawing/2014/main" xmlns="" id="{1D161850-90B6-4BAB-AC59-7A4CBE3EB45D}"/>
              </a:ext>
            </a:extLst>
          </p:cNvPr>
          <p:cNvSpPr/>
          <p:nvPr/>
        </p:nvSpPr>
        <p:spPr>
          <a:xfrm rot="5520000" flipH="1">
            <a:off x="6927848" y="2556914"/>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4" name="Shape 24658">
            <a:extLst>
              <a:ext uri="{FF2B5EF4-FFF2-40B4-BE49-F238E27FC236}">
                <a16:creationId xmlns:a16="http://schemas.microsoft.com/office/drawing/2014/main" xmlns="" id="{5E6A3375-E0CA-4B4F-A855-0D27E7E3FD77}"/>
              </a:ext>
            </a:extLst>
          </p:cNvPr>
          <p:cNvSpPr/>
          <p:nvPr/>
        </p:nvSpPr>
        <p:spPr>
          <a:xfrm rot="20880000" flipH="1">
            <a:off x="6744918" y="2778557"/>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5" name="Shape 24659">
            <a:extLst>
              <a:ext uri="{FF2B5EF4-FFF2-40B4-BE49-F238E27FC236}">
                <a16:creationId xmlns:a16="http://schemas.microsoft.com/office/drawing/2014/main" xmlns="" id="{2382AB39-3D2C-43DA-92C6-C7A9BFEEB3D9}"/>
              </a:ext>
            </a:extLst>
          </p:cNvPr>
          <p:cNvSpPr/>
          <p:nvPr/>
        </p:nvSpPr>
        <p:spPr>
          <a:xfrm rot="17820000">
            <a:off x="6816592" y="31283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6" name="Shape 24660">
            <a:extLst>
              <a:ext uri="{FF2B5EF4-FFF2-40B4-BE49-F238E27FC236}">
                <a16:creationId xmlns:a16="http://schemas.microsoft.com/office/drawing/2014/main" xmlns="" id="{AE86585E-F9EE-4480-A649-6290453F09E3}"/>
              </a:ext>
            </a:extLst>
          </p:cNvPr>
          <p:cNvSpPr/>
          <p:nvPr/>
        </p:nvSpPr>
        <p:spPr>
          <a:xfrm rot="2880000" flipH="1">
            <a:off x="6548860" y="3339947"/>
            <a:ext cx="197537" cy="13159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7" name="Shape 24661">
            <a:extLst>
              <a:ext uri="{FF2B5EF4-FFF2-40B4-BE49-F238E27FC236}">
                <a16:creationId xmlns:a16="http://schemas.microsoft.com/office/drawing/2014/main" xmlns="" id="{DD97B76E-60D0-4604-8646-E31BD3760DB8}"/>
              </a:ext>
            </a:extLst>
          </p:cNvPr>
          <p:cNvSpPr/>
          <p:nvPr/>
        </p:nvSpPr>
        <p:spPr>
          <a:xfrm rot="18720000">
            <a:off x="6908749" y="3408999"/>
            <a:ext cx="197537" cy="13159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8" name="Shape 24662">
            <a:extLst>
              <a:ext uri="{FF2B5EF4-FFF2-40B4-BE49-F238E27FC236}">
                <a16:creationId xmlns:a16="http://schemas.microsoft.com/office/drawing/2014/main" xmlns="" id="{58C2B480-ED1E-49AE-8162-F96888F1DA05}"/>
              </a:ext>
            </a:extLst>
          </p:cNvPr>
          <p:cNvSpPr/>
          <p:nvPr/>
        </p:nvSpPr>
        <p:spPr>
          <a:xfrm rot="6000000" flipH="1">
            <a:off x="7251820" y="3383260"/>
            <a:ext cx="224459" cy="149529"/>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9" name="Shape 24663">
            <a:extLst>
              <a:ext uri="{FF2B5EF4-FFF2-40B4-BE49-F238E27FC236}">
                <a16:creationId xmlns:a16="http://schemas.microsoft.com/office/drawing/2014/main" xmlns="" id="{9C069DC7-C174-4968-AB4B-A69E2FDF8E79}"/>
              </a:ext>
            </a:extLst>
          </p:cNvPr>
          <p:cNvSpPr/>
          <p:nvPr/>
        </p:nvSpPr>
        <p:spPr>
          <a:xfrm rot="6000000" flipH="1">
            <a:off x="7325957" y="3155763"/>
            <a:ext cx="191262" cy="12741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0" name="Shape 24666">
            <a:extLst>
              <a:ext uri="{FF2B5EF4-FFF2-40B4-BE49-F238E27FC236}">
                <a16:creationId xmlns:a16="http://schemas.microsoft.com/office/drawing/2014/main" xmlns="" id="{306CB7B5-9C8D-4B43-867C-891CF57C746A}"/>
              </a:ext>
            </a:extLst>
          </p:cNvPr>
          <p:cNvSpPr/>
          <p:nvPr/>
        </p:nvSpPr>
        <p:spPr>
          <a:xfrm rot="20160000" flipH="1">
            <a:off x="6102891" y="3352683"/>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1" name="Shape 24667">
            <a:extLst>
              <a:ext uri="{FF2B5EF4-FFF2-40B4-BE49-F238E27FC236}">
                <a16:creationId xmlns:a16="http://schemas.microsoft.com/office/drawing/2014/main" xmlns="" id="{3D1E4EB8-98C8-49A9-9D08-AAB6E6A7EED3}"/>
              </a:ext>
            </a:extLst>
          </p:cNvPr>
          <p:cNvSpPr/>
          <p:nvPr/>
        </p:nvSpPr>
        <p:spPr>
          <a:xfrm rot="19740000" flipH="1">
            <a:off x="6289576" y="352989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2" name="Shape 24668">
            <a:extLst>
              <a:ext uri="{FF2B5EF4-FFF2-40B4-BE49-F238E27FC236}">
                <a16:creationId xmlns:a16="http://schemas.microsoft.com/office/drawing/2014/main" xmlns="" id="{07EFD013-F052-4DE7-A233-B9CF818D68B6}"/>
              </a:ext>
            </a:extLst>
          </p:cNvPr>
          <p:cNvSpPr/>
          <p:nvPr/>
        </p:nvSpPr>
        <p:spPr>
          <a:xfrm rot="19740000" flipH="1">
            <a:off x="6496482" y="36527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3" name="Shape 24669">
            <a:extLst>
              <a:ext uri="{FF2B5EF4-FFF2-40B4-BE49-F238E27FC236}">
                <a16:creationId xmlns:a16="http://schemas.microsoft.com/office/drawing/2014/main" xmlns="" id="{301796F8-7B89-4DAD-9E09-6F8297AF2ADD}"/>
              </a:ext>
            </a:extLst>
          </p:cNvPr>
          <p:cNvSpPr/>
          <p:nvPr/>
        </p:nvSpPr>
        <p:spPr>
          <a:xfrm rot="5520000" flipH="1">
            <a:off x="6155867" y="298998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4" name="Shape 24670">
            <a:extLst>
              <a:ext uri="{FF2B5EF4-FFF2-40B4-BE49-F238E27FC236}">
                <a16:creationId xmlns:a16="http://schemas.microsoft.com/office/drawing/2014/main" xmlns="" id="{AD2B9F20-7331-4C89-A443-2E75E6CE8405}"/>
              </a:ext>
            </a:extLst>
          </p:cNvPr>
          <p:cNvSpPr/>
          <p:nvPr/>
        </p:nvSpPr>
        <p:spPr>
          <a:xfrm rot="5880000" flipH="1">
            <a:off x="6337224" y="3159001"/>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5" name="Shape 24671">
            <a:extLst>
              <a:ext uri="{FF2B5EF4-FFF2-40B4-BE49-F238E27FC236}">
                <a16:creationId xmlns:a16="http://schemas.microsoft.com/office/drawing/2014/main" xmlns="" id="{9627ECDE-E827-411C-92C2-4427008C23C1}"/>
              </a:ext>
            </a:extLst>
          </p:cNvPr>
          <p:cNvSpPr/>
          <p:nvPr/>
        </p:nvSpPr>
        <p:spPr>
          <a:xfrm rot="19740000" flipH="1">
            <a:off x="5976723" y="353845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6" name="Shape 24672">
            <a:extLst>
              <a:ext uri="{FF2B5EF4-FFF2-40B4-BE49-F238E27FC236}">
                <a16:creationId xmlns:a16="http://schemas.microsoft.com/office/drawing/2014/main" xmlns="" id="{57D38E16-BEDF-48D8-86ED-1D859928221B}"/>
              </a:ext>
            </a:extLst>
          </p:cNvPr>
          <p:cNvSpPr/>
          <p:nvPr/>
        </p:nvSpPr>
        <p:spPr>
          <a:xfrm rot="19740000" flipH="1">
            <a:off x="6292333" y="393112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7" name="Shape 24673">
            <a:extLst>
              <a:ext uri="{FF2B5EF4-FFF2-40B4-BE49-F238E27FC236}">
                <a16:creationId xmlns:a16="http://schemas.microsoft.com/office/drawing/2014/main" xmlns="" id="{9A2AF306-A97C-4ED5-8B50-0192ACB7E5F8}"/>
              </a:ext>
            </a:extLst>
          </p:cNvPr>
          <p:cNvSpPr/>
          <p:nvPr/>
        </p:nvSpPr>
        <p:spPr>
          <a:xfrm rot="5580000">
            <a:off x="7332234" y="384410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8" name="Shape 24674">
            <a:extLst>
              <a:ext uri="{FF2B5EF4-FFF2-40B4-BE49-F238E27FC236}">
                <a16:creationId xmlns:a16="http://schemas.microsoft.com/office/drawing/2014/main" xmlns="" id="{7ADB9606-5EA7-4B60-ABB1-DFCBF567A6DF}"/>
              </a:ext>
            </a:extLst>
          </p:cNvPr>
          <p:cNvSpPr/>
          <p:nvPr/>
        </p:nvSpPr>
        <p:spPr>
          <a:xfrm rot="18120000" flipH="1">
            <a:off x="6753462" y="386821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9" name="Shape 24684">
            <a:extLst>
              <a:ext uri="{FF2B5EF4-FFF2-40B4-BE49-F238E27FC236}">
                <a16:creationId xmlns:a16="http://schemas.microsoft.com/office/drawing/2014/main" xmlns="" id="{FBC9C2F6-589C-4D9D-A095-075081FE3973}"/>
              </a:ext>
            </a:extLst>
          </p:cNvPr>
          <p:cNvSpPr/>
          <p:nvPr/>
        </p:nvSpPr>
        <p:spPr>
          <a:xfrm flipV="1">
            <a:off x="4894430" y="4686874"/>
            <a:ext cx="4680000" cy="0"/>
          </a:xfrm>
          <a:prstGeom prst="line">
            <a:avLst/>
          </a:prstGeom>
          <a:noFill/>
          <a:ln w="635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90" name="TextBox 47">
            <a:extLst>
              <a:ext uri="{FF2B5EF4-FFF2-40B4-BE49-F238E27FC236}">
                <a16:creationId xmlns:a16="http://schemas.microsoft.com/office/drawing/2014/main" xmlns="" id="{5455712B-D241-4692-9EE7-660FC7D5C9E9}"/>
              </a:ext>
            </a:extLst>
          </p:cNvPr>
          <p:cNvSpPr txBox="1"/>
          <p:nvPr/>
        </p:nvSpPr>
        <p:spPr>
          <a:xfrm>
            <a:off x="3514107" y="2218372"/>
            <a:ext cx="2486453" cy="1015663"/>
          </a:xfrm>
          <a:prstGeom prst="rect">
            <a:avLst/>
          </a:prstGeom>
          <a:noFill/>
        </p:spPr>
        <p:txBody>
          <a:bodyPr wrap="square" rtlCol="0">
            <a:spAutoFit/>
          </a:bodyPr>
          <a:lstStyle/>
          <a:p>
            <a:r>
              <a:rPr lang="en-GB" sz="2000" dirty="0">
                <a:solidFill>
                  <a:schemeClr val="tx2"/>
                </a:solidFill>
                <a:latin typeface="+mj-lt"/>
                <a:ea typeface="Roboto" charset="0"/>
                <a:cs typeface="Roboto" charset="0"/>
              </a:rPr>
              <a:t>Above the surface you see the </a:t>
            </a:r>
            <a:r>
              <a:rPr lang="en-GB" sz="2000" b="1" dirty="0">
                <a:solidFill>
                  <a:schemeClr val="tx2"/>
                </a:solidFill>
                <a:latin typeface="+mj-lt"/>
                <a:ea typeface="Roboto" charset="0"/>
                <a:cs typeface="Roboto" charset="0"/>
              </a:rPr>
              <a:t>Symptoms </a:t>
            </a:r>
            <a:r>
              <a:rPr lang="en-GB" sz="2000" dirty="0">
                <a:solidFill>
                  <a:schemeClr val="tx2"/>
                </a:solidFill>
                <a:latin typeface="+mj-lt"/>
                <a:ea typeface="Roboto" charset="0"/>
                <a:cs typeface="Roboto" charset="0"/>
              </a:rPr>
              <a:t>of the problem</a:t>
            </a:r>
          </a:p>
        </p:txBody>
      </p:sp>
      <p:sp>
        <p:nvSpPr>
          <p:cNvPr id="91" name="TextBox 47">
            <a:extLst>
              <a:ext uri="{FF2B5EF4-FFF2-40B4-BE49-F238E27FC236}">
                <a16:creationId xmlns:a16="http://schemas.microsoft.com/office/drawing/2014/main" xmlns="" id="{135D153A-0ED2-4102-BE40-FA92E2B41145}"/>
              </a:ext>
            </a:extLst>
          </p:cNvPr>
          <p:cNvSpPr txBox="1"/>
          <p:nvPr/>
        </p:nvSpPr>
        <p:spPr>
          <a:xfrm>
            <a:off x="3190735" y="5970423"/>
            <a:ext cx="2993127" cy="646331"/>
          </a:xfrm>
          <a:prstGeom prst="rect">
            <a:avLst/>
          </a:prstGeom>
          <a:noFill/>
        </p:spPr>
        <p:txBody>
          <a:bodyPr wrap="none" rtlCol="0">
            <a:spAutoFit/>
          </a:bodyPr>
          <a:lstStyle/>
          <a:p>
            <a:r>
              <a:rPr lang="en-GB" dirty="0">
                <a:solidFill>
                  <a:schemeClr val="tx2"/>
                </a:solidFill>
                <a:latin typeface="+mj-lt"/>
                <a:ea typeface="Roboto" charset="0"/>
                <a:cs typeface="Roboto" charset="0"/>
              </a:rPr>
              <a:t>You need to dig deeper to find</a:t>
            </a:r>
            <a:br>
              <a:rPr lang="en-GB" dirty="0">
                <a:solidFill>
                  <a:schemeClr val="tx2"/>
                </a:solidFill>
                <a:latin typeface="+mj-lt"/>
                <a:ea typeface="Roboto" charset="0"/>
                <a:cs typeface="Roboto" charset="0"/>
              </a:rPr>
            </a:br>
            <a:r>
              <a:rPr lang="en-GB" dirty="0">
                <a:solidFill>
                  <a:schemeClr val="tx2"/>
                </a:solidFill>
                <a:latin typeface="+mj-lt"/>
                <a:ea typeface="Roboto" charset="0"/>
                <a:cs typeface="Roboto" charset="0"/>
              </a:rPr>
              <a:t>the </a:t>
            </a:r>
            <a:r>
              <a:rPr lang="en-GB" b="1" dirty="0">
                <a:solidFill>
                  <a:schemeClr val="tx2"/>
                </a:solidFill>
                <a:latin typeface="+mj-lt"/>
                <a:ea typeface="Roboto" charset="0"/>
                <a:cs typeface="Roboto" charset="0"/>
              </a:rPr>
              <a:t>Root Cause</a:t>
            </a:r>
            <a:r>
              <a:rPr lang="en-GB" dirty="0">
                <a:solidFill>
                  <a:schemeClr val="tx2"/>
                </a:solidFill>
                <a:latin typeface="+mj-lt"/>
                <a:ea typeface="Roboto" charset="0"/>
                <a:cs typeface="Roboto" charset="0"/>
              </a:rPr>
              <a:t> of a problem</a:t>
            </a:r>
          </a:p>
        </p:txBody>
      </p:sp>
      <p:sp>
        <p:nvSpPr>
          <p:cNvPr id="55" name="TextBox 47">
            <a:extLst>
              <a:ext uri="{FF2B5EF4-FFF2-40B4-BE49-F238E27FC236}">
                <a16:creationId xmlns:a16="http://schemas.microsoft.com/office/drawing/2014/main" xmlns="" id="{DBEBF0F6-6455-4237-A391-629AF11F6DAE}"/>
              </a:ext>
            </a:extLst>
          </p:cNvPr>
          <p:cNvSpPr txBox="1"/>
          <p:nvPr/>
        </p:nvSpPr>
        <p:spPr>
          <a:xfrm>
            <a:off x="9246471" y="4821091"/>
            <a:ext cx="2714718" cy="1477328"/>
          </a:xfrm>
          <a:prstGeom prst="rect">
            <a:avLst/>
          </a:prstGeom>
          <a:noFill/>
        </p:spPr>
        <p:txBody>
          <a:bodyPr wrap="none" rtlCol="0">
            <a:spAutoFit/>
          </a:bodyPr>
          <a:lstStyle/>
          <a:p>
            <a:r>
              <a:rPr lang="en-GB" b="1" dirty="0">
                <a:solidFill>
                  <a:schemeClr val="tx2"/>
                </a:solidFill>
                <a:latin typeface="+mj-lt"/>
                <a:ea typeface="Roboto" charset="0"/>
                <a:cs typeface="Roboto" charset="0"/>
              </a:rPr>
              <a:t>Example Causes:</a:t>
            </a:r>
          </a:p>
          <a:p>
            <a:pPr marL="182563" indent="-182563">
              <a:buFont typeface="Arial" panose="020B0604020202020204" pitchFamily="34" charset="0"/>
              <a:buChar char="•"/>
            </a:pPr>
            <a:r>
              <a:rPr lang="en-GB" dirty="0">
                <a:solidFill>
                  <a:schemeClr val="tx2"/>
                </a:solidFill>
                <a:latin typeface="+mj-lt"/>
                <a:ea typeface="Roboto" charset="0"/>
                <a:cs typeface="Roboto" charset="0"/>
              </a:rPr>
              <a:t>Personnel incompetence</a:t>
            </a:r>
          </a:p>
          <a:p>
            <a:pPr marL="182563" indent="-182563">
              <a:buFont typeface="Arial" panose="020B0604020202020204" pitchFamily="34" charset="0"/>
              <a:buChar char="•"/>
            </a:pPr>
            <a:r>
              <a:rPr lang="en-GB" dirty="0">
                <a:solidFill>
                  <a:schemeClr val="tx2"/>
                </a:solidFill>
                <a:latin typeface="+mj-lt"/>
                <a:ea typeface="Roboto" charset="0"/>
                <a:cs typeface="Roboto" charset="0"/>
              </a:rPr>
              <a:t>Equipment Breakdown</a:t>
            </a:r>
          </a:p>
          <a:p>
            <a:pPr marL="182563" indent="-182563">
              <a:buFont typeface="Arial" panose="020B0604020202020204" pitchFamily="34" charset="0"/>
              <a:buChar char="•"/>
            </a:pPr>
            <a:r>
              <a:rPr lang="en-GB" dirty="0">
                <a:solidFill>
                  <a:schemeClr val="tx2"/>
                </a:solidFill>
                <a:latin typeface="+mj-lt"/>
                <a:ea typeface="Roboto" charset="0"/>
                <a:cs typeface="Roboto" charset="0"/>
              </a:rPr>
              <a:t>Process incapability</a:t>
            </a:r>
          </a:p>
          <a:p>
            <a:pPr marL="182563" indent="-182563">
              <a:buFont typeface="Arial" panose="020B0604020202020204" pitchFamily="34" charset="0"/>
              <a:buChar char="•"/>
            </a:pPr>
            <a:r>
              <a:rPr lang="en-GB" dirty="0">
                <a:solidFill>
                  <a:schemeClr val="tx2"/>
                </a:solidFill>
                <a:latin typeface="+mj-lt"/>
                <a:ea typeface="Roboto" charset="0"/>
                <a:cs typeface="Roboto" charset="0"/>
              </a:rPr>
              <a:t>Unrealistic Time Planning</a:t>
            </a:r>
            <a:endParaRPr lang="en-GB" sz="1600" dirty="0">
              <a:solidFill>
                <a:schemeClr val="tx2"/>
              </a:solidFill>
              <a:latin typeface="+mj-lt"/>
              <a:ea typeface="Roboto" charset="0"/>
              <a:cs typeface="Roboto" charset="0"/>
            </a:endParaRPr>
          </a:p>
        </p:txBody>
      </p:sp>
      <p:sp>
        <p:nvSpPr>
          <p:cNvPr id="62" name="TextBox 63">
            <a:extLst>
              <a:ext uri="{FF2B5EF4-FFF2-40B4-BE49-F238E27FC236}">
                <a16:creationId xmlns:a16="http://schemas.microsoft.com/office/drawing/2014/main" xmlns="" id="{9FE8E75B-C3A7-4AE1-9DFC-D9E5D6A6EF9E}"/>
              </a:ext>
            </a:extLst>
          </p:cNvPr>
          <p:cNvSpPr txBox="1"/>
          <p:nvPr/>
        </p:nvSpPr>
        <p:spPr>
          <a:xfrm>
            <a:off x="8803135" y="3006838"/>
            <a:ext cx="2594208" cy="45719"/>
          </a:xfrm>
          <a:prstGeom prst="rect">
            <a:avLst/>
          </a:prstGeom>
          <a:noFill/>
        </p:spPr>
        <p:txBody>
          <a:bodyPr wrap="square" rtlCol="0" anchor="b" anchorCtr="0">
            <a:noAutofit/>
          </a:bodyPr>
          <a:lstStyle/>
          <a:p>
            <a:r>
              <a:rPr lang="en-GB" sz="2000" b="1" dirty="0">
                <a:solidFill>
                  <a:schemeClr val="tx2"/>
                </a:solidFill>
                <a:ea typeface="League Spartan" charset="0"/>
                <a:cs typeface="Poppins" pitchFamily="2" charset="77"/>
              </a:rPr>
              <a:t>Example Symptom  </a:t>
            </a:r>
            <a:r>
              <a:rPr lang="en-GB" sz="2000" dirty="0">
                <a:solidFill>
                  <a:schemeClr val="tx2"/>
                </a:solidFill>
                <a:latin typeface="+mj-lt"/>
                <a:ea typeface="Roboto" charset="0"/>
                <a:cs typeface="Roboto" charset="0"/>
              </a:rPr>
              <a:t>Customer Complaints</a:t>
            </a:r>
          </a:p>
          <a:p>
            <a:endParaRPr lang="en-GB" sz="1600" b="1" dirty="0">
              <a:solidFill>
                <a:schemeClr val="tx2"/>
              </a:solidFill>
              <a:ea typeface="League Spartan" charset="0"/>
              <a:cs typeface="Poppins" pitchFamily="2" charset="77"/>
            </a:endParaRPr>
          </a:p>
        </p:txBody>
      </p:sp>
      <p:sp>
        <p:nvSpPr>
          <p:cNvPr id="63" name="Oval 9">
            <a:extLst>
              <a:ext uri="{FF2B5EF4-FFF2-40B4-BE49-F238E27FC236}">
                <a16:creationId xmlns:a16="http://schemas.microsoft.com/office/drawing/2014/main" xmlns="" id="{CE5BBB62-6CCE-49D2-8773-525473AEC01C}"/>
              </a:ext>
            </a:extLst>
          </p:cNvPr>
          <p:cNvSpPr>
            <a:spLocks noChangeArrowheads="1"/>
          </p:cNvSpPr>
          <p:nvPr/>
        </p:nvSpPr>
        <p:spPr bwMode="auto">
          <a:xfrm>
            <a:off x="5290294" y="5269077"/>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64" name="Freeform 936">
            <a:extLst>
              <a:ext uri="{FF2B5EF4-FFF2-40B4-BE49-F238E27FC236}">
                <a16:creationId xmlns:a16="http://schemas.microsoft.com/office/drawing/2014/main" xmlns="" id="{3B01A910-64E0-4349-BA50-3D8BA7B13D74}"/>
              </a:ext>
            </a:extLst>
          </p:cNvPr>
          <p:cNvSpPr>
            <a:spLocks noChangeArrowheads="1"/>
          </p:cNvSpPr>
          <p:nvPr/>
        </p:nvSpPr>
        <p:spPr bwMode="auto">
          <a:xfrm>
            <a:off x="5422003" y="5401811"/>
            <a:ext cx="348627" cy="348627"/>
          </a:xfrm>
          <a:custGeom>
            <a:avLst/>
            <a:gdLst>
              <a:gd name="T0" fmla="*/ 166384 w 296503"/>
              <a:gd name="T1" fmla="*/ 230760 h 296053"/>
              <a:gd name="T2" fmla="*/ 159150 w 296503"/>
              <a:gd name="T3" fmla="*/ 233316 h 296053"/>
              <a:gd name="T4" fmla="*/ 136001 w 296503"/>
              <a:gd name="T5" fmla="*/ 243537 h 296053"/>
              <a:gd name="T6" fmla="*/ 138171 w 296503"/>
              <a:gd name="T7" fmla="*/ 254490 h 296053"/>
              <a:gd name="T8" fmla="*/ 121171 w 296503"/>
              <a:gd name="T9" fmla="*/ 273839 h 296053"/>
              <a:gd name="T10" fmla="*/ 232576 w 296503"/>
              <a:gd name="T11" fmla="*/ 290999 h 296053"/>
              <a:gd name="T12" fmla="*/ 227512 w 296503"/>
              <a:gd name="T13" fmla="*/ 244632 h 296053"/>
              <a:gd name="T14" fmla="*/ 222447 w 296503"/>
              <a:gd name="T15" fmla="*/ 239522 h 296053"/>
              <a:gd name="T16" fmla="*/ 194596 w 296503"/>
              <a:gd name="T17" fmla="*/ 205569 h 296053"/>
              <a:gd name="T18" fmla="*/ 57149 w 296503"/>
              <a:gd name="T19" fmla="*/ 178553 h 296053"/>
              <a:gd name="T20" fmla="*/ 56789 w 296503"/>
              <a:gd name="T21" fmla="*/ 190601 h 296053"/>
              <a:gd name="T22" fmla="*/ 45215 w 296503"/>
              <a:gd name="T23" fmla="*/ 190966 h 296053"/>
              <a:gd name="T24" fmla="*/ 45215 w 296503"/>
              <a:gd name="T25" fmla="*/ 263980 h 296053"/>
              <a:gd name="T26" fmla="*/ 128044 w 296503"/>
              <a:gd name="T27" fmla="*/ 249744 h 296053"/>
              <a:gd name="T28" fmla="*/ 149746 w 296503"/>
              <a:gd name="T29" fmla="*/ 220537 h 296053"/>
              <a:gd name="T30" fmla="*/ 188809 w 296503"/>
              <a:gd name="T31" fmla="*/ 197173 h 296053"/>
              <a:gd name="T32" fmla="*/ 166745 w 296503"/>
              <a:gd name="T33" fmla="*/ 169790 h 296053"/>
              <a:gd name="T34" fmla="*/ 147214 w 296503"/>
              <a:gd name="T35" fmla="*/ 176363 h 296053"/>
              <a:gd name="T36" fmla="*/ 100915 w 296503"/>
              <a:gd name="T37" fmla="*/ 134015 h 296053"/>
              <a:gd name="T38" fmla="*/ 112852 w 296503"/>
              <a:gd name="T39" fmla="*/ 126347 h 296053"/>
              <a:gd name="T40" fmla="*/ 166745 w 296503"/>
              <a:gd name="T41" fmla="*/ 160664 h 296053"/>
              <a:gd name="T42" fmla="*/ 225341 w 296503"/>
              <a:gd name="T43" fmla="*/ 129633 h 296053"/>
              <a:gd name="T44" fmla="*/ 168916 w 296503"/>
              <a:gd name="T45" fmla="*/ 63917 h 296053"/>
              <a:gd name="T46" fmla="*/ 197852 w 296503"/>
              <a:gd name="T47" fmla="*/ 188410 h 296053"/>
              <a:gd name="T48" fmla="*/ 197852 w 296503"/>
              <a:gd name="T49" fmla="*/ 196808 h 296053"/>
              <a:gd name="T50" fmla="*/ 231852 w 296503"/>
              <a:gd name="T51" fmla="*/ 235141 h 296053"/>
              <a:gd name="T52" fmla="*/ 232576 w 296503"/>
              <a:gd name="T53" fmla="*/ 300125 h 296053"/>
              <a:gd name="T54" fmla="*/ 112128 w 296503"/>
              <a:gd name="T55" fmla="*/ 273839 h 296053"/>
              <a:gd name="T56" fmla="*/ 45215 w 296503"/>
              <a:gd name="T57" fmla="*/ 273108 h 296053"/>
              <a:gd name="T58" fmla="*/ 48469 w 296503"/>
              <a:gd name="T59" fmla="*/ 182204 h 296053"/>
              <a:gd name="T60" fmla="*/ 100915 w 296503"/>
              <a:gd name="T61" fmla="*/ 125252 h 296053"/>
              <a:gd name="T62" fmla="*/ 168916 w 296503"/>
              <a:gd name="T63" fmla="*/ 63917 h 296053"/>
              <a:gd name="T64" fmla="*/ 172561 w 296503"/>
              <a:gd name="T65" fmla="*/ 1367 h 296053"/>
              <a:gd name="T66" fmla="*/ 257358 w 296503"/>
              <a:gd name="T67" fmla="*/ 36705 h 296053"/>
              <a:gd name="T68" fmla="*/ 261707 w 296503"/>
              <a:gd name="T69" fmla="*/ 90991 h 296053"/>
              <a:gd name="T70" fmla="*/ 298307 w 296503"/>
              <a:gd name="T71" fmla="*/ 129611 h 296053"/>
              <a:gd name="T72" fmla="*/ 261707 w 296503"/>
              <a:gd name="T73" fmla="*/ 168229 h 296053"/>
              <a:gd name="T74" fmla="*/ 257358 w 296503"/>
              <a:gd name="T75" fmla="*/ 222878 h 296053"/>
              <a:gd name="T76" fmla="*/ 237428 w 296503"/>
              <a:gd name="T77" fmla="*/ 218142 h 296053"/>
              <a:gd name="T78" fmla="*/ 252647 w 296503"/>
              <a:gd name="T79" fmla="*/ 213770 h 296053"/>
              <a:gd name="T80" fmla="*/ 254097 w 296503"/>
              <a:gd name="T81" fmla="*/ 163127 h 296053"/>
              <a:gd name="T82" fmla="*/ 254097 w 296503"/>
              <a:gd name="T83" fmla="*/ 96090 h 296053"/>
              <a:gd name="T84" fmla="*/ 252647 w 296503"/>
              <a:gd name="T85" fmla="*/ 45814 h 296053"/>
              <a:gd name="T86" fmla="*/ 202639 w 296503"/>
              <a:gd name="T87" fmla="*/ 44356 h 296053"/>
              <a:gd name="T88" fmla="*/ 135960 w 296503"/>
              <a:gd name="T89" fmla="*/ 44356 h 296053"/>
              <a:gd name="T90" fmla="*/ 85952 w 296503"/>
              <a:gd name="T91" fmla="*/ 45814 h 296053"/>
              <a:gd name="T92" fmla="*/ 84502 w 296503"/>
              <a:gd name="T93" fmla="*/ 96090 h 296053"/>
              <a:gd name="T94" fmla="*/ 54426 w 296503"/>
              <a:gd name="T95" fmla="*/ 132890 h 296053"/>
              <a:gd name="T96" fmla="*/ 48264 w 296503"/>
              <a:gd name="T97" fmla="*/ 139080 h 296053"/>
              <a:gd name="T98" fmla="*/ 41741 w 296503"/>
              <a:gd name="T99" fmla="*/ 126331 h 296053"/>
              <a:gd name="T100" fmla="*/ 76893 w 296503"/>
              <a:gd name="T101" fmla="*/ 41077 h 296053"/>
              <a:gd name="T102" fmla="*/ 131250 w 296503"/>
              <a:gd name="T103" fmla="*/ 36705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92" name="Oval 9">
            <a:extLst>
              <a:ext uri="{FF2B5EF4-FFF2-40B4-BE49-F238E27FC236}">
                <a16:creationId xmlns:a16="http://schemas.microsoft.com/office/drawing/2014/main" xmlns="" id="{FF198961-E1A5-4668-9133-1DEA1AF0932F}"/>
              </a:ext>
            </a:extLst>
          </p:cNvPr>
          <p:cNvSpPr>
            <a:spLocks noChangeArrowheads="1"/>
          </p:cNvSpPr>
          <p:nvPr/>
        </p:nvSpPr>
        <p:spPr bwMode="auto">
          <a:xfrm>
            <a:off x="6823293" y="5798523"/>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3" name="Oval 9">
            <a:extLst>
              <a:ext uri="{FF2B5EF4-FFF2-40B4-BE49-F238E27FC236}">
                <a16:creationId xmlns:a16="http://schemas.microsoft.com/office/drawing/2014/main" xmlns="" id="{43FA0611-DC63-48C9-AC68-2E956BD521BA}"/>
              </a:ext>
            </a:extLst>
          </p:cNvPr>
          <p:cNvSpPr>
            <a:spLocks noChangeArrowheads="1"/>
          </p:cNvSpPr>
          <p:nvPr/>
        </p:nvSpPr>
        <p:spPr bwMode="auto">
          <a:xfrm>
            <a:off x="8100154" y="5600233"/>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4" name="Oval 9">
            <a:extLst>
              <a:ext uri="{FF2B5EF4-FFF2-40B4-BE49-F238E27FC236}">
                <a16:creationId xmlns:a16="http://schemas.microsoft.com/office/drawing/2014/main" xmlns="" id="{E8AE1826-0033-4FC2-AE15-DB9986F6B9B1}"/>
              </a:ext>
            </a:extLst>
          </p:cNvPr>
          <p:cNvSpPr>
            <a:spLocks noChangeArrowheads="1"/>
          </p:cNvSpPr>
          <p:nvPr/>
        </p:nvSpPr>
        <p:spPr bwMode="auto">
          <a:xfrm>
            <a:off x="8377382" y="4872471"/>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5" name="Freeform 807">
            <a:extLst>
              <a:ext uri="{FF2B5EF4-FFF2-40B4-BE49-F238E27FC236}">
                <a16:creationId xmlns:a16="http://schemas.microsoft.com/office/drawing/2014/main" xmlns="" id="{2DDEB10E-E4EB-454E-BAB3-72CFCD322D5B}"/>
              </a:ext>
            </a:extLst>
          </p:cNvPr>
          <p:cNvSpPr>
            <a:spLocks noChangeArrowheads="1"/>
          </p:cNvSpPr>
          <p:nvPr/>
        </p:nvSpPr>
        <p:spPr bwMode="auto">
          <a:xfrm>
            <a:off x="8508166" y="5005205"/>
            <a:ext cx="348627" cy="348627"/>
          </a:xfrm>
          <a:custGeom>
            <a:avLst/>
            <a:gdLst>
              <a:gd name="T0" fmla="*/ 175848 w 302852"/>
              <a:gd name="T1" fmla="*/ 296686 h 302852"/>
              <a:gd name="T2" fmla="*/ 103187 w 302852"/>
              <a:gd name="T3" fmla="*/ 296686 h 302852"/>
              <a:gd name="T4" fmla="*/ 213946 w 302852"/>
              <a:gd name="T5" fmla="*/ 251590 h 302852"/>
              <a:gd name="T6" fmla="*/ 228600 w 302852"/>
              <a:gd name="T7" fmla="*/ 251590 h 302852"/>
              <a:gd name="T8" fmla="*/ 234828 w 302852"/>
              <a:gd name="T9" fmla="*/ 245567 h 302852"/>
              <a:gd name="T10" fmla="*/ 207352 w 302852"/>
              <a:gd name="T11" fmla="*/ 272143 h 302852"/>
              <a:gd name="T12" fmla="*/ 98124 w 302852"/>
              <a:gd name="T13" fmla="*/ 216900 h 302852"/>
              <a:gd name="T14" fmla="*/ 52259 w 302852"/>
              <a:gd name="T15" fmla="*/ 286239 h 302852"/>
              <a:gd name="T16" fmla="*/ 123403 w 302852"/>
              <a:gd name="T17" fmla="*/ 243986 h 302852"/>
              <a:gd name="T18" fmla="*/ 98124 w 302852"/>
              <a:gd name="T19" fmla="*/ 216900 h 302852"/>
              <a:gd name="T20" fmla="*/ 231745 w 302852"/>
              <a:gd name="T21" fmla="*/ 119032 h 302852"/>
              <a:gd name="T22" fmla="*/ 76456 w 302852"/>
              <a:gd name="T23" fmla="*/ 86890 h 302852"/>
              <a:gd name="T24" fmla="*/ 73928 w 302852"/>
              <a:gd name="T25" fmla="*/ 139616 h 302852"/>
              <a:gd name="T26" fmla="*/ 56593 w 302852"/>
              <a:gd name="T27" fmla="*/ 142867 h 302852"/>
              <a:gd name="T28" fmla="*/ 91984 w 302852"/>
              <a:gd name="T29" fmla="*/ 152979 h 302852"/>
              <a:gd name="T30" fmla="*/ 197798 w 302852"/>
              <a:gd name="T31" fmla="*/ 284072 h 302852"/>
              <a:gd name="T32" fmla="*/ 253775 w 302852"/>
              <a:gd name="T33" fmla="*/ 260598 h 302852"/>
              <a:gd name="T34" fmla="*/ 208632 w 302852"/>
              <a:gd name="T35" fmla="*/ 227373 h 302852"/>
              <a:gd name="T36" fmla="*/ 103180 w 302852"/>
              <a:gd name="T37" fmla="*/ 96641 h 302852"/>
              <a:gd name="T38" fmla="*/ 238246 w 302852"/>
              <a:gd name="T39" fmla="*/ 78945 h 302852"/>
              <a:gd name="T40" fmla="*/ 263164 w 302852"/>
              <a:gd name="T41" fmla="*/ 105670 h 302852"/>
              <a:gd name="T42" fmla="*/ 231023 w 302852"/>
              <a:gd name="T43" fmla="*/ 129505 h 302852"/>
              <a:gd name="T44" fmla="*/ 170712 w 302852"/>
              <a:gd name="T45" fmla="*/ 176453 h 302852"/>
              <a:gd name="T46" fmla="*/ 263164 w 302852"/>
              <a:gd name="T47" fmla="*/ 260598 h 302852"/>
              <a:gd name="T48" fmla="*/ 191297 w 302852"/>
              <a:gd name="T49" fmla="*/ 290211 h 302852"/>
              <a:gd name="T50" fmla="*/ 121237 w 302852"/>
              <a:gd name="T51" fmla="*/ 225928 h 302852"/>
              <a:gd name="T52" fmla="*/ 85123 w 302852"/>
              <a:gd name="T53" fmla="*/ 294906 h 302852"/>
              <a:gd name="T54" fmla="*/ 45759 w 302852"/>
              <a:gd name="T55" fmla="*/ 292739 h 302852"/>
              <a:gd name="T56" fmla="*/ 106069 w 302852"/>
              <a:gd name="T57" fmla="*/ 210761 h 302852"/>
              <a:gd name="T58" fmla="*/ 87290 w 302852"/>
              <a:gd name="T59" fmla="*/ 161285 h 302852"/>
              <a:gd name="T60" fmla="*/ 43592 w 302852"/>
              <a:gd name="T61" fmla="*/ 102419 h 302852"/>
              <a:gd name="T62" fmla="*/ 90540 w 302852"/>
              <a:gd name="T63" fmla="*/ 113976 h 302852"/>
              <a:gd name="T64" fmla="*/ 65621 w 302852"/>
              <a:gd name="T65" fmla="*/ 80029 h 302852"/>
              <a:gd name="T66" fmla="*/ 164212 w 302852"/>
              <a:gd name="T67" fmla="*/ 169952 h 302852"/>
              <a:gd name="T68" fmla="*/ 211883 w 302852"/>
              <a:gd name="T69" fmla="*/ 106753 h 302852"/>
              <a:gd name="T70" fmla="*/ 269753 w 302852"/>
              <a:gd name="T71" fmla="*/ 23926 h 302852"/>
              <a:gd name="T72" fmla="*/ 275981 w 302852"/>
              <a:gd name="T73" fmla="*/ 30049 h 302852"/>
              <a:gd name="T74" fmla="*/ 268287 w 302852"/>
              <a:gd name="T75" fmla="*/ 27327 h 302852"/>
              <a:gd name="T76" fmla="*/ 217311 w 302852"/>
              <a:gd name="T77" fmla="*/ 23926 h 302852"/>
              <a:gd name="T78" fmla="*/ 214136 w 302852"/>
              <a:gd name="T79" fmla="*/ 31410 h 302852"/>
              <a:gd name="T80" fmla="*/ 210961 w 302852"/>
              <a:gd name="T81" fmla="*/ 23926 h 302852"/>
              <a:gd name="T82" fmla="*/ 244298 w 302852"/>
              <a:gd name="T83" fmla="*/ 31397 h 302852"/>
              <a:gd name="T84" fmla="*/ 9374 w 302852"/>
              <a:gd name="T85" fmla="*/ 9013 h 302852"/>
              <a:gd name="T86" fmla="*/ 293478 w 302852"/>
              <a:gd name="T87" fmla="*/ 9013 h 302852"/>
              <a:gd name="T88" fmla="*/ 298165 w 302852"/>
              <a:gd name="T89" fmla="*/ 0 h 302852"/>
              <a:gd name="T90" fmla="*/ 302852 w 302852"/>
              <a:gd name="T91" fmla="*/ 298165 h 302852"/>
              <a:gd name="T92" fmla="*/ 267519 w 302852"/>
              <a:gd name="T93" fmla="*/ 298165 h 302852"/>
              <a:gd name="T94" fmla="*/ 293478 w 302852"/>
              <a:gd name="T95" fmla="*/ 55162 h 302852"/>
              <a:gd name="T96" fmla="*/ 25958 w 302852"/>
              <a:gd name="T97" fmla="*/ 293478 h 302852"/>
              <a:gd name="T98" fmla="*/ 4687 w 302852"/>
              <a:gd name="T99" fmla="*/ 302852 h 302852"/>
              <a:gd name="T100" fmla="*/ 0 w 302852"/>
              <a:gd name="T101" fmla="*/ 4326 h 302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2852" h="302852">
                <a:moveTo>
                  <a:pt x="107910" y="292100"/>
                </a:moveTo>
                <a:lnTo>
                  <a:pt x="171125" y="292100"/>
                </a:lnTo>
                <a:cubicBezTo>
                  <a:pt x="173669" y="292100"/>
                  <a:pt x="175848" y="294217"/>
                  <a:pt x="175848" y="296686"/>
                </a:cubicBezTo>
                <a:cubicBezTo>
                  <a:pt x="175848" y="299156"/>
                  <a:pt x="173669" y="301272"/>
                  <a:pt x="171125" y="301272"/>
                </a:cubicBezTo>
                <a:lnTo>
                  <a:pt x="107910" y="301272"/>
                </a:lnTo>
                <a:cubicBezTo>
                  <a:pt x="105367" y="301272"/>
                  <a:pt x="103187" y="299156"/>
                  <a:pt x="103187" y="296686"/>
                </a:cubicBezTo>
                <a:cubicBezTo>
                  <a:pt x="103187" y="294217"/>
                  <a:pt x="105367" y="292100"/>
                  <a:pt x="107910" y="292100"/>
                </a:cubicBezTo>
                <a:close/>
                <a:moveTo>
                  <a:pt x="221273" y="249110"/>
                </a:moveTo>
                <a:cubicBezTo>
                  <a:pt x="218709" y="249110"/>
                  <a:pt x="216144" y="249819"/>
                  <a:pt x="213946" y="251590"/>
                </a:cubicBezTo>
                <a:cubicBezTo>
                  <a:pt x="210283" y="255488"/>
                  <a:pt x="210283" y="261867"/>
                  <a:pt x="213946" y="265410"/>
                </a:cubicBezTo>
                <a:cubicBezTo>
                  <a:pt x="217976" y="269662"/>
                  <a:pt x="224570" y="269662"/>
                  <a:pt x="228600" y="265410"/>
                </a:cubicBezTo>
                <a:cubicBezTo>
                  <a:pt x="232263" y="261867"/>
                  <a:pt x="232263" y="255488"/>
                  <a:pt x="228600" y="251590"/>
                </a:cubicBezTo>
                <a:cubicBezTo>
                  <a:pt x="226768" y="249819"/>
                  <a:pt x="223837" y="249110"/>
                  <a:pt x="221273" y="249110"/>
                </a:cubicBezTo>
                <a:close/>
                <a:moveTo>
                  <a:pt x="221227" y="239986"/>
                </a:moveTo>
                <a:cubicBezTo>
                  <a:pt x="226219" y="239986"/>
                  <a:pt x="231164" y="241846"/>
                  <a:pt x="234828" y="245567"/>
                </a:cubicBezTo>
                <a:cubicBezTo>
                  <a:pt x="242521" y="252654"/>
                  <a:pt x="242521" y="264701"/>
                  <a:pt x="234828" y="272143"/>
                </a:cubicBezTo>
                <a:cubicBezTo>
                  <a:pt x="231164" y="275686"/>
                  <a:pt x="226402" y="277458"/>
                  <a:pt x="221273" y="277458"/>
                </a:cubicBezTo>
                <a:cubicBezTo>
                  <a:pt x="216144" y="277458"/>
                  <a:pt x="211382" y="275686"/>
                  <a:pt x="207352" y="272143"/>
                </a:cubicBezTo>
                <a:cubicBezTo>
                  <a:pt x="200025" y="264701"/>
                  <a:pt x="200025" y="252654"/>
                  <a:pt x="207352" y="245567"/>
                </a:cubicBezTo>
                <a:cubicBezTo>
                  <a:pt x="211199" y="241846"/>
                  <a:pt x="216236" y="239986"/>
                  <a:pt x="221227" y="239986"/>
                </a:cubicBezTo>
                <a:close/>
                <a:moveTo>
                  <a:pt x="98124" y="216900"/>
                </a:moveTo>
                <a:cubicBezTo>
                  <a:pt x="97763" y="216900"/>
                  <a:pt x="97402" y="216900"/>
                  <a:pt x="96679" y="217261"/>
                </a:cubicBezTo>
                <a:lnTo>
                  <a:pt x="52259" y="261681"/>
                </a:lnTo>
                <a:cubicBezTo>
                  <a:pt x="45398" y="268543"/>
                  <a:pt x="45398" y="279377"/>
                  <a:pt x="52259" y="286239"/>
                </a:cubicBezTo>
                <a:lnTo>
                  <a:pt x="54426" y="288406"/>
                </a:lnTo>
                <a:cubicBezTo>
                  <a:pt x="61288" y="295267"/>
                  <a:pt x="72122" y="295267"/>
                  <a:pt x="78984" y="288406"/>
                </a:cubicBezTo>
                <a:lnTo>
                  <a:pt x="123403" y="243986"/>
                </a:lnTo>
                <a:cubicBezTo>
                  <a:pt x="124126" y="242902"/>
                  <a:pt x="124126" y="241819"/>
                  <a:pt x="123403" y="240735"/>
                </a:cubicBezTo>
                <a:lnTo>
                  <a:pt x="99568" y="217261"/>
                </a:lnTo>
                <a:cubicBezTo>
                  <a:pt x="99207" y="216900"/>
                  <a:pt x="98485" y="216900"/>
                  <a:pt x="98124" y="216900"/>
                </a:cubicBezTo>
                <a:close/>
                <a:moveTo>
                  <a:pt x="236079" y="89418"/>
                </a:moveTo>
                <a:lnTo>
                  <a:pt x="221633" y="108920"/>
                </a:lnTo>
                <a:lnTo>
                  <a:pt x="231745" y="119032"/>
                </a:lnTo>
                <a:lnTo>
                  <a:pt x="251247" y="104947"/>
                </a:lnTo>
                <a:lnTo>
                  <a:pt x="236079" y="89418"/>
                </a:lnTo>
                <a:close/>
                <a:moveTo>
                  <a:pt x="76456" y="86890"/>
                </a:moveTo>
                <a:lnTo>
                  <a:pt x="98846" y="109281"/>
                </a:lnTo>
                <a:cubicBezTo>
                  <a:pt x="99929" y="110364"/>
                  <a:pt x="100291" y="112170"/>
                  <a:pt x="100291" y="113615"/>
                </a:cubicBezTo>
                <a:cubicBezTo>
                  <a:pt x="96679" y="126616"/>
                  <a:pt x="86929" y="136727"/>
                  <a:pt x="73928" y="139616"/>
                </a:cubicBezTo>
                <a:cubicBezTo>
                  <a:pt x="72483" y="140339"/>
                  <a:pt x="71038" y="139616"/>
                  <a:pt x="69594" y="138533"/>
                </a:cubicBezTo>
                <a:lnTo>
                  <a:pt x="47203" y="116143"/>
                </a:lnTo>
                <a:cubicBezTo>
                  <a:pt x="46481" y="125893"/>
                  <a:pt x="49731" y="136005"/>
                  <a:pt x="56593" y="142867"/>
                </a:cubicBezTo>
                <a:cubicBezTo>
                  <a:pt x="64899" y="151173"/>
                  <a:pt x="76456" y="154423"/>
                  <a:pt x="88012" y="151534"/>
                </a:cubicBezTo>
                <a:cubicBezTo>
                  <a:pt x="88373" y="151534"/>
                  <a:pt x="88373" y="151534"/>
                  <a:pt x="88734" y="151534"/>
                </a:cubicBezTo>
                <a:cubicBezTo>
                  <a:pt x="90179" y="151534"/>
                  <a:pt x="91262" y="152256"/>
                  <a:pt x="91984" y="152979"/>
                </a:cubicBezTo>
                <a:lnTo>
                  <a:pt x="187686" y="248680"/>
                </a:lnTo>
                <a:cubicBezTo>
                  <a:pt x="188769" y="249764"/>
                  <a:pt x="189130" y="251208"/>
                  <a:pt x="189130" y="252653"/>
                </a:cubicBezTo>
                <a:cubicBezTo>
                  <a:pt x="186241" y="263848"/>
                  <a:pt x="189492" y="275766"/>
                  <a:pt x="197798" y="284072"/>
                </a:cubicBezTo>
                <a:cubicBezTo>
                  <a:pt x="203938" y="290211"/>
                  <a:pt x="212244" y="293462"/>
                  <a:pt x="220911" y="293462"/>
                </a:cubicBezTo>
                <a:cubicBezTo>
                  <a:pt x="229939" y="293462"/>
                  <a:pt x="237884" y="290211"/>
                  <a:pt x="244024" y="284072"/>
                </a:cubicBezTo>
                <a:cubicBezTo>
                  <a:pt x="250524" y="277571"/>
                  <a:pt x="253775" y="269265"/>
                  <a:pt x="253775" y="260598"/>
                </a:cubicBezTo>
                <a:cubicBezTo>
                  <a:pt x="253775" y="251570"/>
                  <a:pt x="250524" y="243625"/>
                  <a:pt x="244024" y="237124"/>
                </a:cubicBezTo>
                <a:cubicBezTo>
                  <a:pt x="236079" y="229179"/>
                  <a:pt x="224522" y="225928"/>
                  <a:pt x="213327" y="228817"/>
                </a:cubicBezTo>
                <a:cubicBezTo>
                  <a:pt x="211521" y="229179"/>
                  <a:pt x="210077" y="228817"/>
                  <a:pt x="208632" y="227373"/>
                </a:cubicBezTo>
                <a:lnTo>
                  <a:pt x="113292" y="131671"/>
                </a:lnTo>
                <a:cubicBezTo>
                  <a:pt x="112208" y="130588"/>
                  <a:pt x="111486" y="129144"/>
                  <a:pt x="112208" y="127338"/>
                </a:cubicBezTo>
                <a:cubicBezTo>
                  <a:pt x="114736" y="116143"/>
                  <a:pt x="111486" y="104586"/>
                  <a:pt x="103180" y="96641"/>
                </a:cubicBezTo>
                <a:cubicBezTo>
                  <a:pt x="96318" y="89418"/>
                  <a:pt x="86567" y="85807"/>
                  <a:pt x="76456" y="86890"/>
                </a:cubicBezTo>
                <a:close/>
                <a:moveTo>
                  <a:pt x="234634" y="77501"/>
                </a:moveTo>
                <a:cubicBezTo>
                  <a:pt x="236079" y="77501"/>
                  <a:pt x="237523" y="77862"/>
                  <a:pt x="238246" y="78945"/>
                </a:cubicBezTo>
                <a:lnTo>
                  <a:pt x="250163" y="90502"/>
                </a:lnTo>
                <a:lnTo>
                  <a:pt x="261720" y="102058"/>
                </a:lnTo>
                <a:cubicBezTo>
                  <a:pt x="262803" y="103142"/>
                  <a:pt x="263164" y="104225"/>
                  <a:pt x="263164" y="105670"/>
                </a:cubicBezTo>
                <a:cubicBezTo>
                  <a:pt x="262803" y="107114"/>
                  <a:pt x="262081" y="108559"/>
                  <a:pt x="260997" y="109281"/>
                </a:cubicBezTo>
                <a:lnTo>
                  <a:pt x="233912" y="128782"/>
                </a:lnTo>
                <a:cubicBezTo>
                  <a:pt x="232829" y="129505"/>
                  <a:pt x="232106" y="129505"/>
                  <a:pt x="231023" y="129505"/>
                </a:cubicBezTo>
                <a:cubicBezTo>
                  <a:pt x="229939" y="129505"/>
                  <a:pt x="228856" y="129144"/>
                  <a:pt x="227773" y="128421"/>
                </a:cubicBezTo>
                <a:lnTo>
                  <a:pt x="223439" y="123726"/>
                </a:lnTo>
                <a:lnTo>
                  <a:pt x="170712" y="176453"/>
                </a:lnTo>
                <a:lnTo>
                  <a:pt x="213688" y="219067"/>
                </a:lnTo>
                <a:cubicBezTo>
                  <a:pt x="227050" y="216900"/>
                  <a:pt x="241135" y="220872"/>
                  <a:pt x="250885" y="230623"/>
                </a:cubicBezTo>
                <a:cubicBezTo>
                  <a:pt x="258830" y="238930"/>
                  <a:pt x="263164" y="249403"/>
                  <a:pt x="263164" y="260598"/>
                </a:cubicBezTo>
                <a:cubicBezTo>
                  <a:pt x="263164" y="271793"/>
                  <a:pt x="258830" y="282627"/>
                  <a:pt x="250885" y="290211"/>
                </a:cubicBezTo>
                <a:cubicBezTo>
                  <a:pt x="242579" y="298517"/>
                  <a:pt x="232467" y="302851"/>
                  <a:pt x="220911" y="302851"/>
                </a:cubicBezTo>
                <a:cubicBezTo>
                  <a:pt x="209716" y="302851"/>
                  <a:pt x="198881" y="298517"/>
                  <a:pt x="191297" y="290211"/>
                </a:cubicBezTo>
                <a:cubicBezTo>
                  <a:pt x="181547" y="280461"/>
                  <a:pt x="176852" y="266737"/>
                  <a:pt x="179380" y="253375"/>
                </a:cubicBezTo>
                <a:lnTo>
                  <a:pt x="136766" y="210399"/>
                </a:lnTo>
                <a:lnTo>
                  <a:pt x="121237" y="225928"/>
                </a:lnTo>
                <a:lnTo>
                  <a:pt x="129904" y="234596"/>
                </a:lnTo>
                <a:cubicBezTo>
                  <a:pt x="134238" y="238930"/>
                  <a:pt x="134238" y="246153"/>
                  <a:pt x="129904" y="250486"/>
                </a:cubicBezTo>
                <a:lnTo>
                  <a:pt x="85123" y="294906"/>
                </a:lnTo>
                <a:cubicBezTo>
                  <a:pt x="80067" y="299962"/>
                  <a:pt x="73566" y="302490"/>
                  <a:pt x="66705" y="302490"/>
                </a:cubicBezTo>
                <a:cubicBezTo>
                  <a:pt x="59843" y="302490"/>
                  <a:pt x="53343" y="299962"/>
                  <a:pt x="47926" y="294906"/>
                </a:cubicBezTo>
                <a:lnTo>
                  <a:pt x="45759" y="292739"/>
                </a:lnTo>
                <a:cubicBezTo>
                  <a:pt x="35647" y="282266"/>
                  <a:pt x="35647" y="265654"/>
                  <a:pt x="45759" y="255181"/>
                </a:cubicBezTo>
                <a:lnTo>
                  <a:pt x="90179" y="210761"/>
                </a:lnTo>
                <a:cubicBezTo>
                  <a:pt x="94512" y="206427"/>
                  <a:pt x="101735" y="206427"/>
                  <a:pt x="106069" y="210761"/>
                </a:cubicBezTo>
                <a:lnTo>
                  <a:pt x="114736" y="219428"/>
                </a:lnTo>
                <a:lnTo>
                  <a:pt x="130265" y="203899"/>
                </a:lnTo>
                <a:lnTo>
                  <a:pt x="87290" y="161285"/>
                </a:lnTo>
                <a:cubicBezTo>
                  <a:pt x="73928" y="163813"/>
                  <a:pt x="60204" y="159479"/>
                  <a:pt x="50454" y="149367"/>
                </a:cubicBezTo>
                <a:cubicBezTo>
                  <a:pt x="38897" y="138172"/>
                  <a:pt x="34925" y="120837"/>
                  <a:pt x="40342" y="105670"/>
                </a:cubicBezTo>
                <a:cubicBezTo>
                  <a:pt x="41064" y="104225"/>
                  <a:pt x="42147" y="102780"/>
                  <a:pt x="43592" y="102419"/>
                </a:cubicBezTo>
                <a:cubicBezTo>
                  <a:pt x="45037" y="102058"/>
                  <a:pt x="46842" y="102419"/>
                  <a:pt x="47926" y="103864"/>
                </a:cubicBezTo>
                <a:lnTo>
                  <a:pt x="74289" y="129866"/>
                </a:lnTo>
                <a:cubicBezTo>
                  <a:pt x="81511" y="127338"/>
                  <a:pt x="87651" y="121560"/>
                  <a:pt x="90540" y="113976"/>
                </a:cubicBezTo>
                <a:lnTo>
                  <a:pt x="64177" y="87613"/>
                </a:lnTo>
                <a:cubicBezTo>
                  <a:pt x="63093" y="86529"/>
                  <a:pt x="62732" y="84724"/>
                  <a:pt x="62732" y="83279"/>
                </a:cubicBezTo>
                <a:cubicBezTo>
                  <a:pt x="63093" y="81834"/>
                  <a:pt x="64177" y="80390"/>
                  <a:pt x="65621" y="80029"/>
                </a:cubicBezTo>
                <a:cubicBezTo>
                  <a:pt x="81150" y="74612"/>
                  <a:pt x="98485" y="78584"/>
                  <a:pt x="110041" y="89780"/>
                </a:cubicBezTo>
                <a:cubicBezTo>
                  <a:pt x="119792" y="99530"/>
                  <a:pt x="123765" y="113253"/>
                  <a:pt x="121598" y="126977"/>
                </a:cubicBezTo>
                <a:lnTo>
                  <a:pt x="164212" y="169952"/>
                </a:lnTo>
                <a:lnTo>
                  <a:pt x="216939" y="117226"/>
                </a:lnTo>
                <a:lnTo>
                  <a:pt x="212244" y="112892"/>
                </a:lnTo>
                <a:cubicBezTo>
                  <a:pt x="210799" y="111087"/>
                  <a:pt x="210799" y="108920"/>
                  <a:pt x="211883" y="106753"/>
                </a:cubicBezTo>
                <a:lnTo>
                  <a:pt x="231745" y="79668"/>
                </a:lnTo>
                <a:cubicBezTo>
                  <a:pt x="232467" y="78584"/>
                  <a:pt x="233551" y="77862"/>
                  <a:pt x="234634" y="77501"/>
                </a:cubicBezTo>
                <a:close/>
                <a:moveTo>
                  <a:pt x="269753" y="23926"/>
                </a:moveTo>
                <a:cubicBezTo>
                  <a:pt x="271218" y="22225"/>
                  <a:pt x="274149" y="22225"/>
                  <a:pt x="275981" y="23926"/>
                </a:cubicBezTo>
                <a:cubicBezTo>
                  <a:pt x="277080" y="24606"/>
                  <a:pt x="277446" y="25967"/>
                  <a:pt x="277446" y="27327"/>
                </a:cubicBezTo>
                <a:cubicBezTo>
                  <a:pt x="277446" y="28008"/>
                  <a:pt x="277080" y="29369"/>
                  <a:pt x="275981" y="30049"/>
                </a:cubicBezTo>
                <a:cubicBezTo>
                  <a:pt x="275248" y="31069"/>
                  <a:pt x="274149" y="31410"/>
                  <a:pt x="273050" y="31410"/>
                </a:cubicBezTo>
                <a:cubicBezTo>
                  <a:pt x="271584" y="31410"/>
                  <a:pt x="270485" y="31069"/>
                  <a:pt x="269753" y="30049"/>
                </a:cubicBezTo>
                <a:cubicBezTo>
                  <a:pt x="268654" y="29369"/>
                  <a:pt x="268287" y="28008"/>
                  <a:pt x="268287" y="27327"/>
                </a:cubicBezTo>
                <a:cubicBezTo>
                  <a:pt x="268287" y="25967"/>
                  <a:pt x="268654" y="24606"/>
                  <a:pt x="269753" y="23926"/>
                </a:cubicBezTo>
                <a:close/>
                <a:moveTo>
                  <a:pt x="210961" y="23926"/>
                </a:moveTo>
                <a:cubicBezTo>
                  <a:pt x="212725" y="22225"/>
                  <a:pt x="215547" y="22225"/>
                  <a:pt x="217311" y="23926"/>
                </a:cubicBezTo>
                <a:cubicBezTo>
                  <a:pt x="218370" y="24606"/>
                  <a:pt x="218722" y="25967"/>
                  <a:pt x="218722" y="27327"/>
                </a:cubicBezTo>
                <a:cubicBezTo>
                  <a:pt x="218722" y="28008"/>
                  <a:pt x="218370" y="29369"/>
                  <a:pt x="217311" y="30049"/>
                </a:cubicBezTo>
                <a:cubicBezTo>
                  <a:pt x="216606" y="31069"/>
                  <a:pt x="215195" y="31410"/>
                  <a:pt x="214136" y="31410"/>
                </a:cubicBezTo>
                <a:cubicBezTo>
                  <a:pt x="212725" y="31410"/>
                  <a:pt x="211667" y="31069"/>
                  <a:pt x="210961" y="30049"/>
                </a:cubicBezTo>
                <a:cubicBezTo>
                  <a:pt x="210256" y="29369"/>
                  <a:pt x="209550" y="28008"/>
                  <a:pt x="209550" y="27327"/>
                </a:cubicBezTo>
                <a:cubicBezTo>
                  <a:pt x="209550" y="25967"/>
                  <a:pt x="210256" y="24606"/>
                  <a:pt x="210961" y="23926"/>
                </a:cubicBezTo>
                <a:close/>
                <a:moveTo>
                  <a:pt x="244298" y="22225"/>
                </a:moveTo>
                <a:cubicBezTo>
                  <a:pt x="246768" y="22225"/>
                  <a:pt x="248884" y="24341"/>
                  <a:pt x="248884" y="27164"/>
                </a:cubicBezTo>
                <a:cubicBezTo>
                  <a:pt x="248884" y="29280"/>
                  <a:pt x="246768" y="31397"/>
                  <a:pt x="244298" y="31397"/>
                </a:cubicBezTo>
                <a:cubicBezTo>
                  <a:pt x="241829" y="31397"/>
                  <a:pt x="239712" y="29280"/>
                  <a:pt x="239712" y="27164"/>
                </a:cubicBezTo>
                <a:cubicBezTo>
                  <a:pt x="239712" y="24341"/>
                  <a:pt x="241829" y="22225"/>
                  <a:pt x="244298" y="22225"/>
                </a:cubicBezTo>
                <a:close/>
                <a:moveTo>
                  <a:pt x="9374" y="9013"/>
                </a:moveTo>
                <a:lnTo>
                  <a:pt x="9374" y="45788"/>
                </a:lnTo>
                <a:lnTo>
                  <a:pt x="293478" y="45788"/>
                </a:lnTo>
                <a:lnTo>
                  <a:pt x="293478" y="9013"/>
                </a:lnTo>
                <a:lnTo>
                  <a:pt x="9374" y="9013"/>
                </a:lnTo>
                <a:close/>
                <a:moveTo>
                  <a:pt x="4687" y="0"/>
                </a:moveTo>
                <a:lnTo>
                  <a:pt x="298165" y="0"/>
                </a:lnTo>
                <a:cubicBezTo>
                  <a:pt x="300688" y="0"/>
                  <a:pt x="302852" y="1802"/>
                  <a:pt x="302852" y="4326"/>
                </a:cubicBezTo>
                <a:lnTo>
                  <a:pt x="302852" y="50475"/>
                </a:lnTo>
                <a:lnTo>
                  <a:pt x="302852" y="298165"/>
                </a:lnTo>
                <a:cubicBezTo>
                  <a:pt x="302852" y="300688"/>
                  <a:pt x="300688" y="302852"/>
                  <a:pt x="298165" y="302852"/>
                </a:cubicBezTo>
                <a:lnTo>
                  <a:pt x="272206" y="302852"/>
                </a:lnTo>
                <a:cubicBezTo>
                  <a:pt x="269682" y="302852"/>
                  <a:pt x="267519" y="300688"/>
                  <a:pt x="267519" y="298165"/>
                </a:cubicBezTo>
                <a:cubicBezTo>
                  <a:pt x="267519" y="295641"/>
                  <a:pt x="269682" y="293478"/>
                  <a:pt x="272206" y="293478"/>
                </a:cubicBezTo>
                <a:lnTo>
                  <a:pt x="293478" y="293478"/>
                </a:lnTo>
                <a:lnTo>
                  <a:pt x="293478" y="55162"/>
                </a:lnTo>
                <a:lnTo>
                  <a:pt x="9374" y="55162"/>
                </a:lnTo>
                <a:lnTo>
                  <a:pt x="9374" y="293478"/>
                </a:lnTo>
                <a:lnTo>
                  <a:pt x="25958" y="293478"/>
                </a:lnTo>
                <a:cubicBezTo>
                  <a:pt x="28482" y="293478"/>
                  <a:pt x="30645" y="295641"/>
                  <a:pt x="30645" y="298165"/>
                </a:cubicBezTo>
                <a:cubicBezTo>
                  <a:pt x="30645" y="300688"/>
                  <a:pt x="28482" y="302852"/>
                  <a:pt x="25958" y="302852"/>
                </a:cubicBezTo>
                <a:lnTo>
                  <a:pt x="4687" y="302852"/>
                </a:lnTo>
                <a:cubicBezTo>
                  <a:pt x="2163" y="302852"/>
                  <a:pt x="0" y="300688"/>
                  <a:pt x="0" y="298165"/>
                </a:cubicBezTo>
                <a:lnTo>
                  <a:pt x="0" y="50475"/>
                </a:lnTo>
                <a:lnTo>
                  <a:pt x="0" y="4326"/>
                </a:lnTo>
                <a:cubicBezTo>
                  <a:pt x="0" y="1802"/>
                  <a:pt x="2163" y="0"/>
                  <a:pt x="4687"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96" name="Freeform 804">
            <a:extLst>
              <a:ext uri="{FF2B5EF4-FFF2-40B4-BE49-F238E27FC236}">
                <a16:creationId xmlns:a16="http://schemas.microsoft.com/office/drawing/2014/main" xmlns="" id="{6B9F6BE9-551E-46E0-8461-E1412C62D35C}"/>
              </a:ext>
            </a:extLst>
          </p:cNvPr>
          <p:cNvSpPr>
            <a:spLocks noChangeArrowheads="1"/>
          </p:cNvSpPr>
          <p:nvPr/>
        </p:nvSpPr>
        <p:spPr bwMode="auto">
          <a:xfrm>
            <a:off x="8232347" y="5732967"/>
            <a:ext cx="348629" cy="348627"/>
          </a:xfrm>
          <a:custGeom>
            <a:avLst/>
            <a:gdLst>
              <a:gd name="T0" fmla="*/ 252053 w 302853"/>
              <a:gd name="T1" fmla="*/ 275882 h 302851"/>
              <a:gd name="T2" fmla="*/ 225425 w 302853"/>
              <a:gd name="T3" fmla="*/ 275882 h 302851"/>
              <a:gd name="T4" fmla="*/ 242697 w 302853"/>
              <a:gd name="T5" fmla="*/ 258377 h 302851"/>
              <a:gd name="T6" fmla="*/ 210557 w 302853"/>
              <a:gd name="T7" fmla="*/ 263187 h 302851"/>
              <a:gd name="T8" fmla="*/ 205906 w 302853"/>
              <a:gd name="T9" fmla="*/ 228600 h 302851"/>
              <a:gd name="T10" fmla="*/ 250267 w 302853"/>
              <a:gd name="T11" fmla="*/ 236526 h 302851"/>
              <a:gd name="T12" fmla="*/ 204117 w 302853"/>
              <a:gd name="T13" fmla="*/ 278680 h 302851"/>
              <a:gd name="T14" fmla="*/ 205906 w 302853"/>
              <a:gd name="T15" fmla="*/ 228600 h 302851"/>
              <a:gd name="T16" fmla="*/ 90123 w 302853"/>
              <a:gd name="T17" fmla="*/ 222271 h 302851"/>
              <a:gd name="T18" fmla="*/ 63500 w 302853"/>
              <a:gd name="T19" fmla="*/ 222271 h 302851"/>
              <a:gd name="T20" fmla="*/ 81006 w 302853"/>
              <a:gd name="T21" fmla="*/ 204766 h 302851"/>
              <a:gd name="T22" fmla="*/ 48632 w 302853"/>
              <a:gd name="T23" fmla="*/ 209212 h 302851"/>
              <a:gd name="T24" fmla="*/ 129407 w 302853"/>
              <a:gd name="T25" fmla="*/ 178468 h 302851"/>
              <a:gd name="T26" fmla="*/ 168480 w 302853"/>
              <a:gd name="T27" fmla="*/ 228727 h 302851"/>
              <a:gd name="T28" fmla="*/ 129407 w 302853"/>
              <a:gd name="T29" fmla="*/ 178468 h 302851"/>
              <a:gd name="T30" fmla="*/ 89415 w 302853"/>
              <a:gd name="T31" fmla="*/ 177508 h 302851"/>
              <a:gd name="T32" fmla="*/ 44339 w 302853"/>
              <a:gd name="T33" fmla="*/ 225065 h 302851"/>
              <a:gd name="T34" fmla="*/ 39688 w 302853"/>
              <a:gd name="T35" fmla="*/ 179309 h 302851"/>
              <a:gd name="T36" fmla="*/ 275863 w 302853"/>
              <a:gd name="T37" fmla="*/ 158668 h 302851"/>
              <a:gd name="T38" fmla="*/ 132930 w 302853"/>
              <a:gd name="T39" fmla="*/ 301265 h 302851"/>
              <a:gd name="T40" fmla="*/ 266817 w 302853"/>
              <a:gd name="T41" fmla="*/ 292263 h 302851"/>
              <a:gd name="T42" fmla="*/ 8962 w 302853"/>
              <a:gd name="T43" fmla="*/ 145926 h 302851"/>
              <a:gd name="T44" fmla="*/ 92843 w 302853"/>
              <a:gd name="T45" fmla="*/ 293811 h 302851"/>
              <a:gd name="T46" fmla="*/ 120445 w 302853"/>
              <a:gd name="T47" fmla="*/ 173768 h 302851"/>
              <a:gd name="T48" fmla="*/ 8962 w 302853"/>
              <a:gd name="T49" fmla="*/ 136525 h 302851"/>
              <a:gd name="T50" fmla="*/ 129407 w 302853"/>
              <a:gd name="T51" fmla="*/ 169067 h 302851"/>
              <a:gd name="T52" fmla="*/ 177442 w 302853"/>
              <a:gd name="T53" fmla="*/ 228727 h 302851"/>
              <a:gd name="T54" fmla="*/ 92843 w 302853"/>
              <a:gd name="T55" fmla="*/ 302851 h 302851"/>
              <a:gd name="T56" fmla="*/ 0 w 302853"/>
              <a:gd name="T57" fmla="*/ 145926 h 302851"/>
              <a:gd name="T58" fmla="*/ 229823 w 302853"/>
              <a:gd name="T59" fmla="*/ 98403 h 302851"/>
              <a:gd name="T60" fmla="*/ 207941 w 302853"/>
              <a:gd name="T61" fmla="*/ 120286 h 302851"/>
              <a:gd name="T62" fmla="*/ 220341 w 302853"/>
              <a:gd name="T63" fmla="*/ 111168 h 302851"/>
              <a:gd name="T64" fmla="*/ 187101 w 302853"/>
              <a:gd name="T65" fmla="*/ 79217 h 302851"/>
              <a:gd name="T66" fmla="*/ 187101 w 302853"/>
              <a:gd name="T67" fmla="*/ 79217 h 302851"/>
              <a:gd name="T68" fmla="*/ 227527 w 302853"/>
              <a:gd name="T69" fmla="*/ 72732 h 302851"/>
              <a:gd name="T70" fmla="*/ 182451 w 302853"/>
              <a:gd name="T71" fmla="*/ 120290 h 302851"/>
              <a:gd name="T72" fmla="*/ 177800 w 302853"/>
              <a:gd name="T73" fmla="*/ 74533 h 302851"/>
              <a:gd name="T74" fmla="*/ 159820 w 302853"/>
              <a:gd name="T75" fmla="*/ 136372 h 302851"/>
              <a:gd name="T76" fmla="*/ 159820 w 302853"/>
              <a:gd name="T77" fmla="*/ 55357 h 302851"/>
              <a:gd name="T78" fmla="*/ 302853 w 302853"/>
              <a:gd name="T79" fmla="*/ 50697 h 302851"/>
              <a:gd name="T80" fmla="*/ 155136 w 302853"/>
              <a:gd name="T81" fmla="*/ 145692 h 302851"/>
              <a:gd name="T82" fmla="*/ 155136 w 302853"/>
              <a:gd name="T83" fmla="*/ 46037 h 302851"/>
              <a:gd name="T84" fmla="*/ 97688 w 302853"/>
              <a:gd name="T85" fmla="*/ 45975 h 302851"/>
              <a:gd name="T86" fmla="*/ 102017 w 302853"/>
              <a:gd name="T87" fmla="*/ 0 h 302851"/>
              <a:gd name="T88" fmla="*/ 275864 w 302853"/>
              <a:gd name="T89" fmla="*/ 32326 h 302851"/>
              <a:gd name="T90" fmla="*/ 266847 w 302853"/>
              <a:gd name="T91" fmla="*/ 8979 h 302851"/>
              <a:gd name="T92" fmla="*/ 102017 w 302853"/>
              <a:gd name="T93" fmla="*/ 55314 h 302851"/>
              <a:gd name="T94" fmla="*/ 55489 w 302853"/>
              <a:gd name="T95" fmla="*/ 128228 h 302851"/>
              <a:gd name="T96" fmla="*/ 51161 w 302853"/>
              <a:gd name="T97" fmla="*/ 50644 h 302851"/>
              <a:gd name="T98" fmla="*/ 52603 w 302853"/>
              <a:gd name="T99" fmla="*/ 47771 h 302851"/>
              <a:gd name="T100" fmla="*/ 100574 w 302853"/>
              <a:gd name="T101" fmla="*/ 359 h 302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2853" h="302851">
                <a:moveTo>
                  <a:pt x="247375" y="254000"/>
                </a:moveTo>
                <a:cubicBezTo>
                  <a:pt x="249894" y="254000"/>
                  <a:pt x="252053" y="255824"/>
                  <a:pt x="252053" y="258377"/>
                </a:cubicBezTo>
                <a:lnTo>
                  <a:pt x="252053" y="275882"/>
                </a:lnTo>
                <a:cubicBezTo>
                  <a:pt x="252053" y="278434"/>
                  <a:pt x="249894" y="280623"/>
                  <a:pt x="247375" y="280623"/>
                </a:cubicBezTo>
                <a:lnTo>
                  <a:pt x="230103" y="280623"/>
                </a:lnTo>
                <a:cubicBezTo>
                  <a:pt x="227584" y="280623"/>
                  <a:pt x="225425" y="278434"/>
                  <a:pt x="225425" y="275882"/>
                </a:cubicBezTo>
                <a:cubicBezTo>
                  <a:pt x="225425" y="273329"/>
                  <a:pt x="227584" y="271141"/>
                  <a:pt x="230103" y="271141"/>
                </a:cubicBezTo>
                <a:lnTo>
                  <a:pt x="242697" y="271141"/>
                </a:lnTo>
                <a:lnTo>
                  <a:pt x="242697" y="258377"/>
                </a:lnTo>
                <a:cubicBezTo>
                  <a:pt x="242697" y="255824"/>
                  <a:pt x="244856" y="254000"/>
                  <a:pt x="247375" y="254000"/>
                </a:cubicBezTo>
                <a:close/>
                <a:moveTo>
                  <a:pt x="210557" y="237607"/>
                </a:moveTo>
                <a:lnTo>
                  <a:pt x="210557" y="263187"/>
                </a:lnTo>
                <a:lnTo>
                  <a:pt x="235957" y="237607"/>
                </a:lnTo>
                <a:lnTo>
                  <a:pt x="210557" y="237607"/>
                </a:lnTo>
                <a:close/>
                <a:moveTo>
                  <a:pt x="205906" y="228600"/>
                </a:moveTo>
                <a:lnTo>
                  <a:pt x="247047" y="228600"/>
                </a:lnTo>
                <a:cubicBezTo>
                  <a:pt x="248836" y="228600"/>
                  <a:pt x="250267" y="229681"/>
                  <a:pt x="250982" y="231122"/>
                </a:cubicBezTo>
                <a:cubicBezTo>
                  <a:pt x="252055" y="233284"/>
                  <a:pt x="251698" y="235085"/>
                  <a:pt x="250267" y="236526"/>
                </a:cubicBezTo>
                <a:lnTo>
                  <a:pt x="209483" y="277599"/>
                </a:lnTo>
                <a:cubicBezTo>
                  <a:pt x="208410" y="278319"/>
                  <a:pt x="207337" y="279040"/>
                  <a:pt x="205906" y="279040"/>
                </a:cubicBezTo>
                <a:cubicBezTo>
                  <a:pt x="205548" y="279040"/>
                  <a:pt x="204833" y="279040"/>
                  <a:pt x="204117" y="278680"/>
                </a:cubicBezTo>
                <a:cubicBezTo>
                  <a:pt x="202686" y="277959"/>
                  <a:pt x="201613" y="276518"/>
                  <a:pt x="201613" y="274356"/>
                </a:cubicBezTo>
                <a:lnTo>
                  <a:pt x="201613" y="233284"/>
                </a:lnTo>
                <a:cubicBezTo>
                  <a:pt x="201613" y="230762"/>
                  <a:pt x="203402" y="228600"/>
                  <a:pt x="205906" y="228600"/>
                </a:cubicBezTo>
                <a:close/>
                <a:moveTo>
                  <a:pt x="85747" y="200025"/>
                </a:moveTo>
                <a:cubicBezTo>
                  <a:pt x="88300" y="200025"/>
                  <a:pt x="90123" y="201849"/>
                  <a:pt x="90123" y="204766"/>
                </a:cubicBezTo>
                <a:lnTo>
                  <a:pt x="90123" y="222271"/>
                </a:lnTo>
                <a:cubicBezTo>
                  <a:pt x="90123" y="224824"/>
                  <a:pt x="88300" y="226648"/>
                  <a:pt x="85747" y="226648"/>
                </a:cubicBezTo>
                <a:lnTo>
                  <a:pt x="68241" y="226648"/>
                </a:lnTo>
                <a:cubicBezTo>
                  <a:pt x="65688" y="226648"/>
                  <a:pt x="63500" y="224824"/>
                  <a:pt x="63500" y="222271"/>
                </a:cubicBezTo>
                <a:cubicBezTo>
                  <a:pt x="63500" y="219718"/>
                  <a:pt x="65688" y="217530"/>
                  <a:pt x="68241" y="217530"/>
                </a:cubicBezTo>
                <a:lnTo>
                  <a:pt x="81006" y="217530"/>
                </a:lnTo>
                <a:lnTo>
                  <a:pt x="81006" y="204766"/>
                </a:lnTo>
                <a:cubicBezTo>
                  <a:pt x="81006" y="201849"/>
                  <a:pt x="83194" y="200025"/>
                  <a:pt x="85747" y="200025"/>
                </a:cubicBezTo>
                <a:close/>
                <a:moveTo>
                  <a:pt x="48632" y="183632"/>
                </a:moveTo>
                <a:lnTo>
                  <a:pt x="48632" y="209212"/>
                </a:lnTo>
                <a:lnTo>
                  <a:pt x="74032" y="183632"/>
                </a:lnTo>
                <a:lnTo>
                  <a:pt x="48632" y="183632"/>
                </a:lnTo>
                <a:close/>
                <a:moveTo>
                  <a:pt x="129407" y="178468"/>
                </a:moveTo>
                <a:lnTo>
                  <a:pt x="129407" y="261269"/>
                </a:lnTo>
                <a:lnTo>
                  <a:pt x="136218" y="261269"/>
                </a:lnTo>
                <a:cubicBezTo>
                  <a:pt x="154141" y="261269"/>
                  <a:pt x="168480" y="246806"/>
                  <a:pt x="168480" y="228727"/>
                </a:cubicBezTo>
                <a:lnTo>
                  <a:pt x="168480" y="210287"/>
                </a:lnTo>
                <a:cubicBezTo>
                  <a:pt x="168480" y="192931"/>
                  <a:pt x="154141" y="178468"/>
                  <a:pt x="136218" y="178468"/>
                </a:cubicBezTo>
                <a:lnTo>
                  <a:pt x="129407" y="178468"/>
                </a:lnTo>
                <a:close/>
                <a:moveTo>
                  <a:pt x="44339" y="174625"/>
                </a:moveTo>
                <a:lnTo>
                  <a:pt x="85122" y="174625"/>
                </a:lnTo>
                <a:cubicBezTo>
                  <a:pt x="86911" y="174625"/>
                  <a:pt x="88342" y="175706"/>
                  <a:pt x="89415" y="177508"/>
                </a:cubicBezTo>
                <a:cubicBezTo>
                  <a:pt x="90130" y="178949"/>
                  <a:pt x="89415" y="181110"/>
                  <a:pt x="88342" y="182551"/>
                </a:cubicBezTo>
                <a:lnTo>
                  <a:pt x="47201" y="223624"/>
                </a:lnTo>
                <a:cubicBezTo>
                  <a:pt x="46485" y="224705"/>
                  <a:pt x="45054" y="225065"/>
                  <a:pt x="44339" y="225065"/>
                </a:cubicBezTo>
                <a:cubicBezTo>
                  <a:pt x="43623" y="225065"/>
                  <a:pt x="42908" y="225065"/>
                  <a:pt x="42192" y="224705"/>
                </a:cubicBezTo>
                <a:cubicBezTo>
                  <a:pt x="40761" y="223984"/>
                  <a:pt x="39688" y="222183"/>
                  <a:pt x="39688" y="220742"/>
                </a:cubicBezTo>
                <a:lnTo>
                  <a:pt x="39688" y="179309"/>
                </a:lnTo>
                <a:cubicBezTo>
                  <a:pt x="39688" y="176787"/>
                  <a:pt x="41477" y="174625"/>
                  <a:pt x="44339" y="174625"/>
                </a:cubicBezTo>
                <a:close/>
                <a:moveTo>
                  <a:pt x="271159" y="153987"/>
                </a:moveTo>
                <a:cubicBezTo>
                  <a:pt x="273692" y="153987"/>
                  <a:pt x="275863" y="156148"/>
                  <a:pt x="275863" y="158668"/>
                </a:cubicBezTo>
                <a:lnTo>
                  <a:pt x="275863" y="296584"/>
                </a:lnTo>
                <a:cubicBezTo>
                  <a:pt x="275863" y="299105"/>
                  <a:pt x="273692" y="301265"/>
                  <a:pt x="271159" y="301265"/>
                </a:cubicBezTo>
                <a:lnTo>
                  <a:pt x="132930" y="301265"/>
                </a:lnTo>
                <a:cubicBezTo>
                  <a:pt x="130397" y="301265"/>
                  <a:pt x="128588" y="299105"/>
                  <a:pt x="128588" y="296584"/>
                </a:cubicBezTo>
                <a:cubicBezTo>
                  <a:pt x="128588" y="294063"/>
                  <a:pt x="130397" y="292263"/>
                  <a:pt x="132930" y="292263"/>
                </a:cubicBezTo>
                <a:lnTo>
                  <a:pt x="266817" y="292263"/>
                </a:lnTo>
                <a:lnTo>
                  <a:pt x="266817" y="158668"/>
                </a:lnTo>
                <a:cubicBezTo>
                  <a:pt x="266817" y="156148"/>
                  <a:pt x="268626" y="153987"/>
                  <a:pt x="271159" y="153987"/>
                </a:cubicBezTo>
                <a:close/>
                <a:moveTo>
                  <a:pt x="8962" y="145926"/>
                </a:moveTo>
                <a:lnTo>
                  <a:pt x="8962" y="265970"/>
                </a:lnTo>
                <a:cubicBezTo>
                  <a:pt x="8962" y="281156"/>
                  <a:pt x="21508" y="293811"/>
                  <a:pt x="36564" y="293811"/>
                </a:cubicBezTo>
                <a:lnTo>
                  <a:pt x="92843" y="293811"/>
                </a:lnTo>
                <a:cubicBezTo>
                  <a:pt x="107899" y="293811"/>
                  <a:pt x="120445" y="281156"/>
                  <a:pt x="120445" y="265970"/>
                </a:cubicBezTo>
                <a:lnTo>
                  <a:pt x="120445" y="265608"/>
                </a:lnTo>
                <a:lnTo>
                  <a:pt x="120445" y="173768"/>
                </a:lnTo>
                <a:lnTo>
                  <a:pt x="120445" y="145926"/>
                </a:lnTo>
                <a:lnTo>
                  <a:pt x="8962" y="145926"/>
                </a:lnTo>
                <a:close/>
                <a:moveTo>
                  <a:pt x="8962" y="136525"/>
                </a:moveTo>
                <a:lnTo>
                  <a:pt x="120445" y="136525"/>
                </a:lnTo>
                <a:cubicBezTo>
                  <a:pt x="125464" y="136525"/>
                  <a:pt x="129407" y="140864"/>
                  <a:pt x="129407" y="145926"/>
                </a:cubicBezTo>
                <a:lnTo>
                  <a:pt x="129407" y="169067"/>
                </a:lnTo>
                <a:lnTo>
                  <a:pt x="136218" y="169067"/>
                </a:lnTo>
                <a:cubicBezTo>
                  <a:pt x="159160" y="169067"/>
                  <a:pt x="177442" y="187508"/>
                  <a:pt x="177442" y="210287"/>
                </a:cubicBezTo>
                <a:lnTo>
                  <a:pt x="177442" y="228727"/>
                </a:lnTo>
                <a:cubicBezTo>
                  <a:pt x="177442" y="251868"/>
                  <a:pt x="159160" y="270309"/>
                  <a:pt x="136218" y="270309"/>
                </a:cubicBezTo>
                <a:lnTo>
                  <a:pt x="129048" y="270309"/>
                </a:lnTo>
                <a:cubicBezTo>
                  <a:pt x="126898" y="288388"/>
                  <a:pt x="111483" y="302851"/>
                  <a:pt x="92843" y="302851"/>
                </a:cubicBezTo>
                <a:lnTo>
                  <a:pt x="36564" y="302851"/>
                </a:lnTo>
                <a:cubicBezTo>
                  <a:pt x="16131" y="302851"/>
                  <a:pt x="0" y="286218"/>
                  <a:pt x="0" y="265970"/>
                </a:cubicBezTo>
                <a:lnTo>
                  <a:pt x="0" y="145926"/>
                </a:lnTo>
                <a:cubicBezTo>
                  <a:pt x="0" y="140864"/>
                  <a:pt x="4302" y="136525"/>
                  <a:pt x="8962" y="136525"/>
                </a:cubicBezTo>
                <a:close/>
                <a:moveTo>
                  <a:pt x="225082" y="93662"/>
                </a:moveTo>
                <a:cubicBezTo>
                  <a:pt x="227635" y="93662"/>
                  <a:pt x="229823" y="95486"/>
                  <a:pt x="229823" y="98403"/>
                </a:cubicBezTo>
                <a:lnTo>
                  <a:pt x="229823" y="115909"/>
                </a:lnTo>
                <a:cubicBezTo>
                  <a:pt x="229823" y="118462"/>
                  <a:pt x="227635" y="120286"/>
                  <a:pt x="225082" y="120286"/>
                </a:cubicBezTo>
                <a:lnTo>
                  <a:pt x="207941" y="120286"/>
                </a:lnTo>
                <a:cubicBezTo>
                  <a:pt x="205388" y="120286"/>
                  <a:pt x="203200" y="118462"/>
                  <a:pt x="203200" y="115909"/>
                </a:cubicBezTo>
                <a:cubicBezTo>
                  <a:pt x="203200" y="113356"/>
                  <a:pt x="205388" y="111168"/>
                  <a:pt x="207941" y="111168"/>
                </a:cubicBezTo>
                <a:lnTo>
                  <a:pt x="220341" y="111168"/>
                </a:lnTo>
                <a:lnTo>
                  <a:pt x="220341" y="98403"/>
                </a:lnTo>
                <a:cubicBezTo>
                  <a:pt x="220341" y="95486"/>
                  <a:pt x="222529" y="93662"/>
                  <a:pt x="225082" y="93662"/>
                </a:cubicBezTo>
                <a:close/>
                <a:moveTo>
                  <a:pt x="187101" y="79217"/>
                </a:moveTo>
                <a:lnTo>
                  <a:pt x="187101" y="104798"/>
                </a:lnTo>
                <a:lnTo>
                  <a:pt x="212501" y="79217"/>
                </a:lnTo>
                <a:lnTo>
                  <a:pt x="187101" y="79217"/>
                </a:lnTo>
                <a:close/>
                <a:moveTo>
                  <a:pt x="182451" y="69850"/>
                </a:moveTo>
                <a:lnTo>
                  <a:pt x="223234" y="69850"/>
                </a:lnTo>
                <a:cubicBezTo>
                  <a:pt x="225380" y="69850"/>
                  <a:pt x="226811" y="70931"/>
                  <a:pt x="227527" y="72732"/>
                </a:cubicBezTo>
                <a:cubicBezTo>
                  <a:pt x="228242" y="74173"/>
                  <a:pt x="227527" y="76695"/>
                  <a:pt x="226454" y="77776"/>
                </a:cubicBezTo>
                <a:lnTo>
                  <a:pt x="185670" y="118849"/>
                </a:lnTo>
                <a:cubicBezTo>
                  <a:pt x="184597" y="119930"/>
                  <a:pt x="183524" y="120290"/>
                  <a:pt x="182451" y="120290"/>
                </a:cubicBezTo>
                <a:cubicBezTo>
                  <a:pt x="181735" y="120290"/>
                  <a:pt x="181020" y="120290"/>
                  <a:pt x="180662" y="120290"/>
                </a:cubicBezTo>
                <a:cubicBezTo>
                  <a:pt x="178873" y="119209"/>
                  <a:pt x="177800" y="117408"/>
                  <a:pt x="177800" y="115967"/>
                </a:cubicBezTo>
                <a:lnTo>
                  <a:pt x="177800" y="74533"/>
                </a:lnTo>
                <a:cubicBezTo>
                  <a:pt x="177800" y="72011"/>
                  <a:pt x="179946" y="69850"/>
                  <a:pt x="182451" y="69850"/>
                </a:cubicBezTo>
                <a:close/>
                <a:moveTo>
                  <a:pt x="159820" y="55357"/>
                </a:moveTo>
                <a:lnTo>
                  <a:pt x="159820" y="136372"/>
                </a:lnTo>
                <a:lnTo>
                  <a:pt x="293485" y="136372"/>
                </a:lnTo>
                <a:lnTo>
                  <a:pt x="293485" y="55357"/>
                </a:lnTo>
                <a:lnTo>
                  <a:pt x="159820" y="55357"/>
                </a:lnTo>
                <a:close/>
                <a:moveTo>
                  <a:pt x="155136" y="46037"/>
                </a:moveTo>
                <a:lnTo>
                  <a:pt x="297809" y="46037"/>
                </a:lnTo>
                <a:cubicBezTo>
                  <a:pt x="300691" y="46037"/>
                  <a:pt x="302853" y="48188"/>
                  <a:pt x="302853" y="50697"/>
                </a:cubicBezTo>
                <a:lnTo>
                  <a:pt x="302853" y="141032"/>
                </a:lnTo>
                <a:cubicBezTo>
                  <a:pt x="302853" y="143541"/>
                  <a:pt x="300691" y="145692"/>
                  <a:pt x="297809" y="145692"/>
                </a:cubicBezTo>
                <a:lnTo>
                  <a:pt x="155136" y="145692"/>
                </a:lnTo>
                <a:cubicBezTo>
                  <a:pt x="152614" y="145692"/>
                  <a:pt x="150813" y="143541"/>
                  <a:pt x="150813" y="141032"/>
                </a:cubicBezTo>
                <a:lnTo>
                  <a:pt x="150813" y="50697"/>
                </a:lnTo>
                <a:cubicBezTo>
                  <a:pt x="150813" y="48188"/>
                  <a:pt x="152614" y="46037"/>
                  <a:pt x="155136" y="46037"/>
                </a:cubicBezTo>
                <a:close/>
                <a:moveTo>
                  <a:pt x="97688" y="15445"/>
                </a:moveTo>
                <a:lnTo>
                  <a:pt x="66670" y="45975"/>
                </a:lnTo>
                <a:lnTo>
                  <a:pt x="97688" y="45975"/>
                </a:lnTo>
                <a:lnTo>
                  <a:pt x="97688" y="15445"/>
                </a:lnTo>
                <a:close/>
                <a:moveTo>
                  <a:pt x="101656" y="0"/>
                </a:moveTo>
                <a:cubicBezTo>
                  <a:pt x="102017" y="0"/>
                  <a:pt x="102017" y="0"/>
                  <a:pt x="102017" y="0"/>
                </a:cubicBezTo>
                <a:lnTo>
                  <a:pt x="271175" y="0"/>
                </a:lnTo>
                <a:cubicBezTo>
                  <a:pt x="273700" y="0"/>
                  <a:pt x="275864" y="2155"/>
                  <a:pt x="275864" y="4669"/>
                </a:cubicBezTo>
                <a:lnTo>
                  <a:pt x="275864" y="32326"/>
                </a:lnTo>
                <a:cubicBezTo>
                  <a:pt x="275864" y="34840"/>
                  <a:pt x="273700" y="36995"/>
                  <a:pt x="271175" y="36995"/>
                </a:cubicBezTo>
                <a:cubicBezTo>
                  <a:pt x="268651" y="36995"/>
                  <a:pt x="266847" y="34840"/>
                  <a:pt x="266847" y="32326"/>
                </a:cubicBezTo>
                <a:lnTo>
                  <a:pt x="266847" y="8979"/>
                </a:lnTo>
                <a:lnTo>
                  <a:pt x="106705" y="8979"/>
                </a:lnTo>
                <a:lnTo>
                  <a:pt x="106705" y="50644"/>
                </a:lnTo>
                <a:cubicBezTo>
                  <a:pt x="106705" y="53159"/>
                  <a:pt x="104541" y="55314"/>
                  <a:pt x="102017" y="55314"/>
                </a:cubicBezTo>
                <a:lnTo>
                  <a:pt x="60178" y="55314"/>
                </a:lnTo>
                <a:lnTo>
                  <a:pt x="60178" y="123200"/>
                </a:lnTo>
                <a:cubicBezTo>
                  <a:pt x="60178" y="125714"/>
                  <a:pt x="58014" y="128228"/>
                  <a:pt x="55489" y="128228"/>
                </a:cubicBezTo>
                <a:cubicBezTo>
                  <a:pt x="52964" y="128228"/>
                  <a:pt x="50800" y="125714"/>
                  <a:pt x="50800" y="123200"/>
                </a:cubicBezTo>
                <a:lnTo>
                  <a:pt x="50800" y="50644"/>
                </a:lnTo>
                <a:lnTo>
                  <a:pt x="51161" y="50644"/>
                </a:lnTo>
                <a:cubicBezTo>
                  <a:pt x="51161" y="50285"/>
                  <a:pt x="51161" y="49567"/>
                  <a:pt x="51521" y="49208"/>
                </a:cubicBezTo>
                <a:cubicBezTo>
                  <a:pt x="51521" y="49208"/>
                  <a:pt x="51521" y="49208"/>
                  <a:pt x="51521" y="48848"/>
                </a:cubicBezTo>
                <a:cubicBezTo>
                  <a:pt x="51882" y="48489"/>
                  <a:pt x="51882" y="48130"/>
                  <a:pt x="52603" y="47771"/>
                </a:cubicBezTo>
                <a:lnTo>
                  <a:pt x="98770" y="1077"/>
                </a:lnTo>
                <a:cubicBezTo>
                  <a:pt x="99131" y="1077"/>
                  <a:pt x="99852" y="718"/>
                  <a:pt x="100213" y="359"/>
                </a:cubicBezTo>
                <a:lnTo>
                  <a:pt x="100574" y="359"/>
                </a:lnTo>
                <a:cubicBezTo>
                  <a:pt x="100935" y="359"/>
                  <a:pt x="101295" y="0"/>
                  <a:pt x="101656"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98" name="Freeform 822">
            <a:extLst>
              <a:ext uri="{FF2B5EF4-FFF2-40B4-BE49-F238E27FC236}">
                <a16:creationId xmlns:a16="http://schemas.microsoft.com/office/drawing/2014/main" xmlns="" id="{82976EB1-9638-461A-81D8-61ECD20CC2DB}"/>
              </a:ext>
            </a:extLst>
          </p:cNvPr>
          <p:cNvSpPr>
            <a:spLocks noChangeArrowheads="1"/>
          </p:cNvSpPr>
          <p:nvPr/>
        </p:nvSpPr>
        <p:spPr bwMode="auto">
          <a:xfrm>
            <a:off x="6955661" y="5931256"/>
            <a:ext cx="348627" cy="348629"/>
          </a:xfrm>
          <a:custGeom>
            <a:avLst/>
            <a:gdLst>
              <a:gd name="T0" fmla="*/ 113934 w 302852"/>
              <a:gd name="T1" fmla="*/ 274814 h 302853"/>
              <a:gd name="T2" fmla="*/ 105874 w 302852"/>
              <a:gd name="T3" fmla="*/ 277989 h 302853"/>
              <a:gd name="T4" fmla="*/ 43039 w 302852"/>
              <a:gd name="T5" fmla="*/ 271639 h 302853"/>
              <a:gd name="T6" fmla="*/ 49036 w 302852"/>
              <a:gd name="T7" fmla="*/ 277989 h 302853"/>
              <a:gd name="T8" fmla="*/ 41275 w 302852"/>
              <a:gd name="T9" fmla="*/ 274814 h 302853"/>
              <a:gd name="T10" fmla="*/ 82183 w 302852"/>
              <a:gd name="T11" fmla="*/ 274638 h 302853"/>
              <a:gd name="T12" fmla="*/ 77787 w 302852"/>
              <a:gd name="T13" fmla="*/ 269875 h 302853"/>
              <a:gd name="T14" fmla="*/ 27243 w 302852"/>
              <a:gd name="T15" fmla="*/ 293479 h 302853"/>
              <a:gd name="T16" fmla="*/ 145897 w 302852"/>
              <a:gd name="T17" fmla="*/ 257064 h 302853"/>
              <a:gd name="T18" fmla="*/ 40741 w 302852"/>
              <a:gd name="T19" fmla="*/ 215611 h 302853"/>
              <a:gd name="T20" fmla="*/ 40741 w 302852"/>
              <a:gd name="T21" fmla="*/ 157089 h 302853"/>
              <a:gd name="T22" fmla="*/ 271100 w 302852"/>
              <a:gd name="T23" fmla="*/ 152364 h 302853"/>
              <a:gd name="T24" fmla="*/ 177380 w 302852"/>
              <a:gd name="T25" fmla="*/ 225062 h 302853"/>
              <a:gd name="T26" fmla="*/ 262054 w 302852"/>
              <a:gd name="T27" fmla="*/ 215611 h 302853"/>
              <a:gd name="T28" fmla="*/ 173037 w 302852"/>
              <a:gd name="T29" fmla="*/ 152364 h 302853"/>
              <a:gd name="T30" fmla="*/ 118790 w 302852"/>
              <a:gd name="T31" fmla="*/ 147638 h 302853"/>
              <a:gd name="T32" fmla="*/ 118790 w 302852"/>
              <a:gd name="T33" fmla="*/ 225062 h 302853"/>
              <a:gd name="T34" fmla="*/ 31750 w 302852"/>
              <a:gd name="T35" fmla="*/ 152364 h 302853"/>
              <a:gd name="T36" fmla="*/ 40741 w 302852"/>
              <a:gd name="T37" fmla="*/ 117661 h 302853"/>
              <a:gd name="T38" fmla="*/ 40741 w 302852"/>
              <a:gd name="T39" fmla="*/ 86769 h 302853"/>
              <a:gd name="T40" fmla="*/ 271100 w 302852"/>
              <a:gd name="T41" fmla="*/ 82458 h 302853"/>
              <a:gd name="T42" fmla="*/ 177380 w 302852"/>
              <a:gd name="T43" fmla="*/ 126641 h 302853"/>
              <a:gd name="T44" fmla="*/ 262054 w 302852"/>
              <a:gd name="T45" fmla="*/ 117661 h 302853"/>
              <a:gd name="T46" fmla="*/ 173037 w 302852"/>
              <a:gd name="T47" fmla="*/ 82458 h 302853"/>
              <a:gd name="T48" fmla="*/ 118790 w 302852"/>
              <a:gd name="T49" fmla="*/ 77788 h 302853"/>
              <a:gd name="T50" fmla="*/ 118790 w 302852"/>
              <a:gd name="T51" fmla="*/ 126641 h 302853"/>
              <a:gd name="T52" fmla="*/ 31750 w 302852"/>
              <a:gd name="T53" fmla="*/ 82458 h 302853"/>
              <a:gd name="T54" fmla="*/ 9320 w 302852"/>
              <a:gd name="T55" fmla="*/ 248051 h 302853"/>
              <a:gd name="T56" fmla="*/ 9320 w 302852"/>
              <a:gd name="T57" fmla="*/ 55163 h 302853"/>
              <a:gd name="T58" fmla="*/ 277446 w 302852"/>
              <a:gd name="T59" fmla="*/ 27164 h 302853"/>
              <a:gd name="T60" fmla="*/ 269753 w 302852"/>
              <a:gd name="T61" fmla="*/ 30339 h 302853"/>
              <a:gd name="T62" fmla="*/ 210961 w 302852"/>
              <a:gd name="T63" fmla="*/ 23636 h 302853"/>
              <a:gd name="T64" fmla="*/ 217311 w 302852"/>
              <a:gd name="T65" fmla="*/ 30339 h 302853"/>
              <a:gd name="T66" fmla="*/ 209550 w 302852"/>
              <a:gd name="T67" fmla="*/ 27164 h 302853"/>
              <a:gd name="T68" fmla="*/ 248884 w 302852"/>
              <a:gd name="T69" fmla="*/ 26988 h 302853"/>
              <a:gd name="T70" fmla="*/ 244298 w 302852"/>
              <a:gd name="T71" fmla="*/ 22225 h 302853"/>
              <a:gd name="T72" fmla="*/ 110948 w 302852"/>
              <a:gd name="T73" fmla="*/ 31384 h 302853"/>
              <a:gd name="T74" fmla="*/ 63345 w 302852"/>
              <a:gd name="T75" fmla="*/ 22225 h 302853"/>
              <a:gd name="T76" fmla="*/ 90641 w 302852"/>
              <a:gd name="T77" fmla="*/ 31384 h 302853"/>
              <a:gd name="T78" fmla="*/ 63345 w 302852"/>
              <a:gd name="T79" fmla="*/ 22225 h 302853"/>
              <a:gd name="T80" fmla="*/ 9320 w 302852"/>
              <a:gd name="T81" fmla="*/ 45789 h 302853"/>
              <a:gd name="T82" fmla="*/ 127973 w 302852"/>
              <a:gd name="T83" fmla="*/ 9374 h 302853"/>
              <a:gd name="T84" fmla="*/ 298164 w 302852"/>
              <a:gd name="T85" fmla="*/ 0 h 302853"/>
              <a:gd name="T86" fmla="*/ 302852 w 302852"/>
              <a:gd name="T87" fmla="*/ 298166 h 302853"/>
              <a:gd name="T88" fmla="*/ 165100 w 302852"/>
              <a:gd name="T89" fmla="*/ 298166 h 302853"/>
              <a:gd name="T90" fmla="*/ 293476 w 302852"/>
              <a:gd name="T91" fmla="*/ 55163 h 302853"/>
              <a:gd name="T92" fmla="*/ 178803 w 302852"/>
              <a:gd name="T93" fmla="*/ 45789 h 302853"/>
              <a:gd name="T94" fmla="*/ 169788 w 302852"/>
              <a:gd name="T95" fmla="*/ 9374 h 302853"/>
              <a:gd name="T96" fmla="*/ 27243 w 302852"/>
              <a:gd name="T97" fmla="*/ 0 h 302853"/>
              <a:gd name="T98" fmla="*/ 155217 w 302852"/>
              <a:gd name="T99" fmla="*/ 50476 h 302853"/>
              <a:gd name="T100" fmla="*/ 127973 w 302852"/>
              <a:gd name="T101" fmla="*/ 302853 h 302853"/>
              <a:gd name="T102" fmla="*/ 0 w 302852"/>
              <a:gd name="T103" fmla="*/ 252377 h 302853"/>
              <a:gd name="T104" fmla="*/ 27243 w 302852"/>
              <a:gd name="T105" fmla="*/ 0 h 302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2852" h="302853">
                <a:moveTo>
                  <a:pt x="105874" y="271639"/>
                </a:moveTo>
                <a:cubicBezTo>
                  <a:pt x="107706" y="269875"/>
                  <a:pt x="111003" y="269875"/>
                  <a:pt x="112835" y="271639"/>
                </a:cubicBezTo>
                <a:cubicBezTo>
                  <a:pt x="113568" y="272345"/>
                  <a:pt x="113934" y="273403"/>
                  <a:pt x="113934" y="274814"/>
                </a:cubicBezTo>
                <a:cubicBezTo>
                  <a:pt x="113934" y="275872"/>
                  <a:pt x="113568" y="276931"/>
                  <a:pt x="112835" y="277989"/>
                </a:cubicBezTo>
                <a:cubicBezTo>
                  <a:pt x="111736" y="278695"/>
                  <a:pt x="110637" y="279047"/>
                  <a:pt x="109171" y="279047"/>
                </a:cubicBezTo>
                <a:cubicBezTo>
                  <a:pt x="108072" y="279047"/>
                  <a:pt x="106973" y="278695"/>
                  <a:pt x="105874" y="277989"/>
                </a:cubicBezTo>
                <a:cubicBezTo>
                  <a:pt x="105141" y="276931"/>
                  <a:pt x="104775" y="275872"/>
                  <a:pt x="104775" y="274814"/>
                </a:cubicBezTo>
                <a:cubicBezTo>
                  <a:pt x="104775" y="273403"/>
                  <a:pt x="105141" y="272345"/>
                  <a:pt x="105874" y="271639"/>
                </a:cubicBezTo>
                <a:close/>
                <a:moveTo>
                  <a:pt x="43039" y="271639"/>
                </a:moveTo>
                <a:cubicBezTo>
                  <a:pt x="44450" y="269875"/>
                  <a:pt x="47625" y="269875"/>
                  <a:pt x="49036" y="271639"/>
                </a:cubicBezTo>
                <a:cubicBezTo>
                  <a:pt x="49741" y="272345"/>
                  <a:pt x="50447" y="273403"/>
                  <a:pt x="50447" y="274814"/>
                </a:cubicBezTo>
                <a:cubicBezTo>
                  <a:pt x="50447" y="275872"/>
                  <a:pt x="49741" y="276931"/>
                  <a:pt x="49036" y="277989"/>
                </a:cubicBezTo>
                <a:cubicBezTo>
                  <a:pt x="48330" y="278695"/>
                  <a:pt x="47272" y="279047"/>
                  <a:pt x="45861" y="279047"/>
                </a:cubicBezTo>
                <a:cubicBezTo>
                  <a:pt x="44803" y="279047"/>
                  <a:pt x="43744" y="278695"/>
                  <a:pt x="43039" y="277989"/>
                </a:cubicBezTo>
                <a:cubicBezTo>
                  <a:pt x="41980" y="276931"/>
                  <a:pt x="41275" y="275872"/>
                  <a:pt x="41275" y="274814"/>
                </a:cubicBezTo>
                <a:cubicBezTo>
                  <a:pt x="41275" y="273403"/>
                  <a:pt x="41980" y="272345"/>
                  <a:pt x="43039" y="271639"/>
                </a:cubicBezTo>
                <a:close/>
                <a:moveTo>
                  <a:pt x="77787" y="269875"/>
                </a:moveTo>
                <a:cubicBezTo>
                  <a:pt x="80352" y="269875"/>
                  <a:pt x="82183" y="272073"/>
                  <a:pt x="82183" y="274638"/>
                </a:cubicBezTo>
                <a:cubicBezTo>
                  <a:pt x="82183" y="277202"/>
                  <a:pt x="80352" y="279034"/>
                  <a:pt x="77787" y="279034"/>
                </a:cubicBezTo>
                <a:cubicBezTo>
                  <a:pt x="75223" y="279034"/>
                  <a:pt x="73025" y="277202"/>
                  <a:pt x="73025" y="274638"/>
                </a:cubicBezTo>
                <a:cubicBezTo>
                  <a:pt x="73025" y="272073"/>
                  <a:pt x="75223" y="269875"/>
                  <a:pt x="77787" y="269875"/>
                </a:cubicBezTo>
                <a:close/>
                <a:moveTo>
                  <a:pt x="9320" y="257064"/>
                </a:moveTo>
                <a:lnTo>
                  <a:pt x="9320" y="275812"/>
                </a:lnTo>
                <a:cubicBezTo>
                  <a:pt x="9320" y="285547"/>
                  <a:pt x="17206" y="293479"/>
                  <a:pt x="27243" y="293479"/>
                </a:cubicBezTo>
                <a:lnTo>
                  <a:pt x="127973" y="293479"/>
                </a:lnTo>
                <a:cubicBezTo>
                  <a:pt x="138010" y="293479"/>
                  <a:pt x="145897" y="285547"/>
                  <a:pt x="145897" y="275812"/>
                </a:cubicBezTo>
                <a:lnTo>
                  <a:pt x="145897" y="257064"/>
                </a:lnTo>
                <a:lnTo>
                  <a:pt x="9320" y="257064"/>
                </a:lnTo>
                <a:close/>
                <a:moveTo>
                  <a:pt x="40741" y="157089"/>
                </a:moveTo>
                <a:lnTo>
                  <a:pt x="40741" y="215611"/>
                </a:lnTo>
                <a:lnTo>
                  <a:pt x="114114" y="215611"/>
                </a:lnTo>
                <a:lnTo>
                  <a:pt x="114114" y="157089"/>
                </a:lnTo>
                <a:lnTo>
                  <a:pt x="40741" y="157089"/>
                </a:lnTo>
                <a:close/>
                <a:moveTo>
                  <a:pt x="177380" y="147638"/>
                </a:moveTo>
                <a:lnTo>
                  <a:pt x="266396" y="147638"/>
                </a:lnTo>
                <a:cubicBezTo>
                  <a:pt x="268929" y="147638"/>
                  <a:pt x="271100" y="149819"/>
                  <a:pt x="271100" y="152364"/>
                </a:cubicBezTo>
                <a:lnTo>
                  <a:pt x="271100" y="220336"/>
                </a:lnTo>
                <a:cubicBezTo>
                  <a:pt x="271100" y="222881"/>
                  <a:pt x="268929" y="225062"/>
                  <a:pt x="266396" y="225062"/>
                </a:cubicBezTo>
                <a:lnTo>
                  <a:pt x="177380" y="225062"/>
                </a:lnTo>
                <a:cubicBezTo>
                  <a:pt x="174847" y="225062"/>
                  <a:pt x="173037" y="222881"/>
                  <a:pt x="173037" y="220336"/>
                </a:cubicBezTo>
                <a:cubicBezTo>
                  <a:pt x="173037" y="217792"/>
                  <a:pt x="174847" y="215611"/>
                  <a:pt x="177380" y="215611"/>
                </a:cubicBezTo>
                <a:lnTo>
                  <a:pt x="262054" y="215611"/>
                </a:lnTo>
                <a:lnTo>
                  <a:pt x="262054" y="157089"/>
                </a:lnTo>
                <a:lnTo>
                  <a:pt x="177380" y="157089"/>
                </a:lnTo>
                <a:cubicBezTo>
                  <a:pt x="174847" y="157089"/>
                  <a:pt x="173037" y="154908"/>
                  <a:pt x="173037" y="152364"/>
                </a:cubicBezTo>
                <a:cubicBezTo>
                  <a:pt x="173037" y="149819"/>
                  <a:pt x="174847" y="147638"/>
                  <a:pt x="177380" y="147638"/>
                </a:cubicBezTo>
                <a:close/>
                <a:moveTo>
                  <a:pt x="36425" y="147638"/>
                </a:moveTo>
                <a:lnTo>
                  <a:pt x="118790" y="147638"/>
                </a:lnTo>
                <a:cubicBezTo>
                  <a:pt x="121308" y="147638"/>
                  <a:pt x="123466" y="149819"/>
                  <a:pt x="123466" y="152364"/>
                </a:cubicBezTo>
                <a:lnTo>
                  <a:pt x="123466" y="220336"/>
                </a:lnTo>
                <a:cubicBezTo>
                  <a:pt x="123466" y="222881"/>
                  <a:pt x="121308" y="225062"/>
                  <a:pt x="118790" y="225062"/>
                </a:cubicBezTo>
                <a:lnTo>
                  <a:pt x="36425" y="225062"/>
                </a:lnTo>
                <a:cubicBezTo>
                  <a:pt x="33908" y="225062"/>
                  <a:pt x="31750" y="222881"/>
                  <a:pt x="31750" y="220336"/>
                </a:cubicBezTo>
                <a:lnTo>
                  <a:pt x="31750" y="152364"/>
                </a:lnTo>
                <a:cubicBezTo>
                  <a:pt x="31750" y="149819"/>
                  <a:pt x="33908" y="147638"/>
                  <a:pt x="36425" y="147638"/>
                </a:cubicBezTo>
                <a:close/>
                <a:moveTo>
                  <a:pt x="40741" y="86769"/>
                </a:moveTo>
                <a:lnTo>
                  <a:pt x="40741" y="117661"/>
                </a:lnTo>
                <a:lnTo>
                  <a:pt x="114114" y="117661"/>
                </a:lnTo>
                <a:lnTo>
                  <a:pt x="114114" y="86769"/>
                </a:lnTo>
                <a:lnTo>
                  <a:pt x="40741" y="86769"/>
                </a:lnTo>
                <a:close/>
                <a:moveTo>
                  <a:pt x="177380" y="77788"/>
                </a:moveTo>
                <a:lnTo>
                  <a:pt x="266396" y="77788"/>
                </a:lnTo>
                <a:cubicBezTo>
                  <a:pt x="268929" y="77788"/>
                  <a:pt x="271100" y="79584"/>
                  <a:pt x="271100" y="82458"/>
                </a:cubicBezTo>
                <a:lnTo>
                  <a:pt x="271100" y="122330"/>
                </a:lnTo>
                <a:cubicBezTo>
                  <a:pt x="271100" y="124845"/>
                  <a:pt x="268929" y="126641"/>
                  <a:pt x="266396" y="126641"/>
                </a:cubicBezTo>
                <a:lnTo>
                  <a:pt x="177380" y="126641"/>
                </a:lnTo>
                <a:cubicBezTo>
                  <a:pt x="174847" y="126641"/>
                  <a:pt x="173037" y="124845"/>
                  <a:pt x="173037" y="122330"/>
                </a:cubicBezTo>
                <a:cubicBezTo>
                  <a:pt x="173037" y="119816"/>
                  <a:pt x="174847" y="117661"/>
                  <a:pt x="177380" y="117661"/>
                </a:cubicBezTo>
                <a:lnTo>
                  <a:pt x="262054" y="117661"/>
                </a:lnTo>
                <a:lnTo>
                  <a:pt x="262054" y="86769"/>
                </a:lnTo>
                <a:lnTo>
                  <a:pt x="177380" y="86769"/>
                </a:lnTo>
                <a:cubicBezTo>
                  <a:pt x="174847" y="86769"/>
                  <a:pt x="173037" y="84972"/>
                  <a:pt x="173037" y="82458"/>
                </a:cubicBezTo>
                <a:cubicBezTo>
                  <a:pt x="173037" y="79584"/>
                  <a:pt x="174847" y="77788"/>
                  <a:pt x="177380" y="77788"/>
                </a:cubicBezTo>
                <a:close/>
                <a:moveTo>
                  <a:pt x="36425" y="77788"/>
                </a:moveTo>
                <a:lnTo>
                  <a:pt x="118790" y="77788"/>
                </a:lnTo>
                <a:cubicBezTo>
                  <a:pt x="121308" y="77788"/>
                  <a:pt x="123466" y="79584"/>
                  <a:pt x="123466" y="82458"/>
                </a:cubicBezTo>
                <a:lnTo>
                  <a:pt x="123466" y="122330"/>
                </a:lnTo>
                <a:cubicBezTo>
                  <a:pt x="123466" y="124845"/>
                  <a:pt x="121308" y="126641"/>
                  <a:pt x="118790" y="126641"/>
                </a:cubicBezTo>
                <a:lnTo>
                  <a:pt x="36425" y="126641"/>
                </a:lnTo>
                <a:cubicBezTo>
                  <a:pt x="33908" y="126641"/>
                  <a:pt x="31750" y="124845"/>
                  <a:pt x="31750" y="122330"/>
                </a:cubicBezTo>
                <a:lnTo>
                  <a:pt x="31750" y="82458"/>
                </a:lnTo>
                <a:cubicBezTo>
                  <a:pt x="31750" y="79584"/>
                  <a:pt x="33908" y="77788"/>
                  <a:pt x="36425" y="77788"/>
                </a:cubicBezTo>
                <a:close/>
                <a:moveTo>
                  <a:pt x="9320" y="55163"/>
                </a:moveTo>
                <a:lnTo>
                  <a:pt x="9320" y="248051"/>
                </a:lnTo>
                <a:lnTo>
                  <a:pt x="145897" y="248051"/>
                </a:lnTo>
                <a:lnTo>
                  <a:pt x="145897" y="55163"/>
                </a:lnTo>
                <a:lnTo>
                  <a:pt x="9320" y="55163"/>
                </a:lnTo>
                <a:close/>
                <a:moveTo>
                  <a:pt x="269753" y="23636"/>
                </a:moveTo>
                <a:cubicBezTo>
                  <a:pt x="271218" y="22225"/>
                  <a:pt x="274149" y="22225"/>
                  <a:pt x="275981" y="23636"/>
                </a:cubicBezTo>
                <a:cubicBezTo>
                  <a:pt x="277080" y="24695"/>
                  <a:pt x="277446" y="25753"/>
                  <a:pt x="277446" y="27164"/>
                </a:cubicBezTo>
                <a:cubicBezTo>
                  <a:pt x="277446" y="28222"/>
                  <a:pt x="277080" y="29281"/>
                  <a:pt x="275981" y="30339"/>
                </a:cubicBezTo>
                <a:cubicBezTo>
                  <a:pt x="275248" y="31045"/>
                  <a:pt x="274149" y="31397"/>
                  <a:pt x="273050" y="31397"/>
                </a:cubicBezTo>
                <a:cubicBezTo>
                  <a:pt x="271584" y="31397"/>
                  <a:pt x="270485" y="31045"/>
                  <a:pt x="269753" y="30339"/>
                </a:cubicBezTo>
                <a:cubicBezTo>
                  <a:pt x="268654" y="29281"/>
                  <a:pt x="268287" y="28222"/>
                  <a:pt x="268287" y="27164"/>
                </a:cubicBezTo>
                <a:cubicBezTo>
                  <a:pt x="268287" y="25753"/>
                  <a:pt x="268654" y="24695"/>
                  <a:pt x="269753" y="23636"/>
                </a:cubicBezTo>
                <a:close/>
                <a:moveTo>
                  <a:pt x="210961" y="23636"/>
                </a:moveTo>
                <a:cubicBezTo>
                  <a:pt x="212725" y="22225"/>
                  <a:pt x="215547" y="22225"/>
                  <a:pt x="217311" y="23636"/>
                </a:cubicBezTo>
                <a:cubicBezTo>
                  <a:pt x="218370" y="24695"/>
                  <a:pt x="218722" y="25753"/>
                  <a:pt x="218722" y="27164"/>
                </a:cubicBezTo>
                <a:cubicBezTo>
                  <a:pt x="218722" y="28222"/>
                  <a:pt x="218370" y="29281"/>
                  <a:pt x="217311" y="30339"/>
                </a:cubicBezTo>
                <a:cubicBezTo>
                  <a:pt x="216253" y="31045"/>
                  <a:pt x="215195" y="31397"/>
                  <a:pt x="214136" y="31397"/>
                </a:cubicBezTo>
                <a:cubicBezTo>
                  <a:pt x="213078" y="31397"/>
                  <a:pt x="211667" y="31045"/>
                  <a:pt x="210961" y="30339"/>
                </a:cubicBezTo>
                <a:cubicBezTo>
                  <a:pt x="210256" y="29281"/>
                  <a:pt x="209550" y="28222"/>
                  <a:pt x="209550" y="27164"/>
                </a:cubicBezTo>
                <a:cubicBezTo>
                  <a:pt x="209550" y="25753"/>
                  <a:pt x="210256" y="24695"/>
                  <a:pt x="210961" y="23636"/>
                </a:cubicBezTo>
                <a:close/>
                <a:moveTo>
                  <a:pt x="244298" y="22225"/>
                </a:moveTo>
                <a:cubicBezTo>
                  <a:pt x="246768" y="22225"/>
                  <a:pt x="248884" y="24423"/>
                  <a:pt x="248884" y="26988"/>
                </a:cubicBezTo>
                <a:cubicBezTo>
                  <a:pt x="248884" y="29552"/>
                  <a:pt x="246768" y="31384"/>
                  <a:pt x="244298" y="31384"/>
                </a:cubicBezTo>
                <a:cubicBezTo>
                  <a:pt x="241829" y="31384"/>
                  <a:pt x="239712" y="29552"/>
                  <a:pt x="239712" y="26988"/>
                </a:cubicBezTo>
                <a:cubicBezTo>
                  <a:pt x="239712" y="24423"/>
                  <a:pt x="241829" y="22225"/>
                  <a:pt x="244298" y="22225"/>
                </a:cubicBezTo>
                <a:close/>
                <a:moveTo>
                  <a:pt x="110948" y="22225"/>
                </a:moveTo>
                <a:cubicBezTo>
                  <a:pt x="113418" y="22225"/>
                  <a:pt x="115534" y="24423"/>
                  <a:pt x="115534" y="26988"/>
                </a:cubicBezTo>
                <a:cubicBezTo>
                  <a:pt x="115534" y="29552"/>
                  <a:pt x="113418" y="31384"/>
                  <a:pt x="110948" y="31384"/>
                </a:cubicBezTo>
                <a:cubicBezTo>
                  <a:pt x="108479" y="31384"/>
                  <a:pt x="106362" y="29552"/>
                  <a:pt x="106362" y="26988"/>
                </a:cubicBezTo>
                <a:cubicBezTo>
                  <a:pt x="106362" y="24423"/>
                  <a:pt x="108479" y="22225"/>
                  <a:pt x="110948" y="22225"/>
                </a:cubicBezTo>
                <a:close/>
                <a:moveTo>
                  <a:pt x="63345" y="22225"/>
                </a:moveTo>
                <a:lnTo>
                  <a:pt x="90641" y="22225"/>
                </a:lnTo>
                <a:cubicBezTo>
                  <a:pt x="93123" y="22225"/>
                  <a:pt x="94895" y="24423"/>
                  <a:pt x="94895" y="26988"/>
                </a:cubicBezTo>
                <a:cubicBezTo>
                  <a:pt x="94895" y="29552"/>
                  <a:pt x="93123" y="31384"/>
                  <a:pt x="90641" y="31384"/>
                </a:cubicBezTo>
                <a:lnTo>
                  <a:pt x="63345" y="31384"/>
                </a:lnTo>
                <a:cubicBezTo>
                  <a:pt x="61218" y="31384"/>
                  <a:pt x="58737" y="29552"/>
                  <a:pt x="58737" y="26988"/>
                </a:cubicBezTo>
                <a:cubicBezTo>
                  <a:pt x="58737" y="24423"/>
                  <a:pt x="61218" y="22225"/>
                  <a:pt x="63345" y="22225"/>
                </a:cubicBezTo>
                <a:close/>
                <a:moveTo>
                  <a:pt x="27243" y="9374"/>
                </a:moveTo>
                <a:cubicBezTo>
                  <a:pt x="17206" y="9374"/>
                  <a:pt x="9320" y="17306"/>
                  <a:pt x="9320" y="27401"/>
                </a:cubicBezTo>
                <a:lnTo>
                  <a:pt x="9320" y="45789"/>
                </a:lnTo>
                <a:lnTo>
                  <a:pt x="145897" y="45789"/>
                </a:lnTo>
                <a:lnTo>
                  <a:pt x="145897" y="27401"/>
                </a:lnTo>
                <a:cubicBezTo>
                  <a:pt x="145897" y="17306"/>
                  <a:pt x="138010" y="9374"/>
                  <a:pt x="127973" y="9374"/>
                </a:cubicBezTo>
                <a:lnTo>
                  <a:pt x="27243" y="9374"/>
                </a:lnTo>
                <a:close/>
                <a:moveTo>
                  <a:pt x="169788" y="0"/>
                </a:moveTo>
                <a:lnTo>
                  <a:pt x="298164" y="0"/>
                </a:lnTo>
                <a:cubicBezTo>
                  <a:pt x="300688" y="0"/>
                  <a:pt x="302852" y="2163"/>
                  <a:pt x="302852" y="4687"/>
                </a:cubicBezTo>
                <a:lnTo>
                  <a:pt x="302852" y="50476"/>
                </a:lnTo>
                <a:lnTo>
                  <a:pt x="302852" y="298166"/>
                </a:lnTo>
                <a:cubicBezTo>
                  <a:pt x="302852" y="300689"/>
                  <a:pt x="300688" y="302853"/>
                  <a:pt x="298164" y="302853"/>
                </a:cubicBezTo>
                <a:lnTo>
                  <a:pt x="169788" y="302853"/>
                </a:lnTo>
                <a:cubicBezTo>
                  <a:pt x="167264" y="302853"/>
                  <a:pt x="165100" y="300689"/>
                  <a:pt x="165100" y="298166"/>
                </a:cubicBezTo>
                <a:cubicBezTo>
                  <a:pt x="165100" y="295642"/>
                  <a:pt x="167264" y="293479"/>
                  <a:pt x="169788" y="293479"/>
                </a:cubicBezTo>
                <a:lnTo>
                  <a:pt x="293476" y="293479"/>
                </a:lnTo>
                <a:lnTo>
                  <a:pt x="293476" y="55163"/>
                </a:lnTo>
                <a:lnTo>
                  <a:pt x="178803" y="55163"/>
                </a:lnTo>
                <a:cubicBezTo>
                  <a:pt x="176279" y="55163"/>
                  <a:pt x="174476" y="52999"/>
                  <a:pt x="174476" y="50476"/>
                </a:cubicBezTo>
                <a:cubicBezTo>
                  <a:pt x="174476" y="47952"/>
                  <a:pt x="176279" y="45789"/>
                  <a:pt x="178803" y="45789"/>
                </a:cubicBezTo>
                <a:lnTo>
                  <a:pt x="293476" y="45789"/>
                </a:lnTo>
                <a:lnTo>
                  <a:pt x="293476" y="9374"/>
                </a:lnTo>
                <a:lnTo>
                  <a:pt x="169788" y="9374"/>
                </a:lnTo>
                <a:cubicBezTo>
                  <a:pt x="167264" y="9374"/>
                  <a:pt x="165100" y="7211"/>
                  <a:pt x="165100" y="4687"/>
                </a:cubicBezTo>
                <a:cubicBezTo>
                  <a:pt x="165100" y="2163"/>
                  <a:pt x="167264" y="0"/>
                  <a:pt x="169788" y="0"/>
                </a:cubicBezTo>
                <a:close/>
                <a:moveTo>
                  <a:pt x="27243" y="0"/>
                </a:moveTo>
                <a:lnTo>
                  <a:pt x="127973" y="0"/>
                </a:lnTo>
                <a:cubicBezTo>
                  <a:pt x="143029" y="0"/>
                  <a:pt x="155217" y="12258"/>
                  <a:pt x="155217" y="27401"/>
                </a:cubicBezTo>
                <a:lnTo>
                  <a:pt x="155217" y="50476"/>
                </a:lnTo>
                <a:lnTo>
                  <a:pt x="155217" y="252377"/>
                </a:lnTo>
                <a:lnTo>
                  <a:pt x="155217" y="275812"/>
                </a:lnTo>
                <a:cubicBezTo>
                  <a:pt x="155217" y="290594"/>
                  <a:pt x="143029" y="302853"/>
                  <a:pt x="127973" y="302853"/>
                </a:cubicBezTo>
                <a:lnTo>
                  <a:pt x="27243" y="302853"/>
                </a:lnTo>
                <a:cubicBezTo>
                  <a:pt x="12188" y="302853"/>
                  <a:pt x="0" y="290594"/>
                  <a:pt x="0" y="275812"/>
                </a:cubicBezTo>
                <a:lnTo>
                  <a:pt x="0" y="252377"/>
                </a:lnTo>
                <a:lnTo>
                  <a:pt x="0" y="50476"/>
                </a:lnTo>
                <a:lnTo>
                  <a:pt x="0" y="27401"/>
                </a:lnTo>
                <a:cubicBezTo>
                  <a:pt x="0" y="12258"/>
                  <a:pt x="12188" y="0"/>
                  <a:pt x="27243"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Tree>
    <p:extLst>
      <p:ext uri="{BB962C8B-B14F-4D97-AF65-F5344CB8AC3E}">
        <p14:creationId xmlns:p14="http://schemas.microsoft.com/office/powerpoint/2010/main" val="15349387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C22E306A-5CDD-4E5D-8F73-18B0AADBDD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C22E306A-5CDD-4E5D-8F73-18B0AADBDD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0" name="Arc 3">
            <a:extLst>
              <a:ext uri="{FF2B5EF4-FFF2-40B4-BE49-F238E27FC236}">
                <a16:creationId xmlns:a16="http://schemas.microsoft.com/office/drawing/2014/main" xmlns="" id="{5E2BEF89-7EE4-44B4-B937-E3C27E82E274}"/>
              </a:ext>
            </a:extLst>
          </p:cNvPr>
          <p:cNvSpPr/>
          <p:nvPr/>
        </p:nvSpPr>
        <p:spPr>
          <a:xfrm>
            <a:off x="5981764" y="3051520"/>
            <a:ext cx="4173409" cy="4173408"/>
          </a:xfrm>
          <a:prstGeom prst="arc">
            <a:avLst>
              <a:gd name="adj1" fmla="val 10799495"/>
              <a:gd name="adj2" fmla="val 3530"/>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Root-Cause-Analysis: Positive Impact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0399" y="2154366"/>
            <a:ext cx="3782506" cy="407577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72C4"/>
                </a:solidFill>
                <a:latin typeface="+mj-lt"/>
                <a:ea typeface="Open Sans Light" panose="020B0306030504020204" pitchFamily="34" charset="0"/>
                <a:cs typeface="Open Sans Light" panose="020B0306030504020204" pitchFamily="34" charset="0"/>
              </a:rPr>
              <a:t>Root Cause Analysis is working towards finding the most probable cause of a non-conformity within a process. </a:t>
            </a:r>
          </a:p>
          <a:p>
            <a:pPr algn="l">
              <a:lnSpc>
                <a:spcPct val="100000"/>
              </a:lnSpc>
              <a:spcBef>
                <a:spcPts val="600"/>
              </a:spcBef>
            </a:pPr>
            <a:r>
              <a:rPr lang="en-GB" sz="2200" dirty="0">
                <a:solidFill>
                  <a:srgbClr val="4472C4"/>
                </a:solidFill>
                <a:latin typeface="+mj-lt"/>
                <a:ea typeface="Open Sans Light" panose="020B0306030504020204" pitchFamily="34" charset="0"/>
                <a:cs typeface="Open Sans Light" panose="020B0306030504020204" pitchFamily="34" charset="0"/>
              </a:rPr>
              <a:t>Its primary goal is to analyse problems or events to identify:</a:t>
            </a:r>
          </a:p>
          <a:p>
            <a:pPr marL="285750" indent="-285750" algn="l">
              <a:lnSpc>
                <a:spcPct val="100000"/>
              </a:lnSpc>
              <a:spcBef>
                <a:spcPts val="300"/>
              </a:spcBef>
              <a:buFontTx/>
              <a:buChar char="-"/>
            </a:pPr>
            <a:r>
              <a:rPr lang="en-GB" sz="2200" dirty="0">
                <a:solidFill>
                  <a:srgbClr val="4472C4"/>
                </a:solidFill>
                <a:latin typeface="+mj-lt"/>
                <a:ea typeface="Open Sans Light" panose="020B0306030504020204" pitchFamily="34" charset="0"/>
                <a:cs typeface="Open Sans Light" panose="020B0306030504020204" pitchFamily="34" charset="0"/>
              </a:rPr>
              <a:t>What happened</a:t>
            </a:r>
          </a:p>
          <a:p>
            <a:pPr marL="285750" indent="-285750" algn="l">
              <a:lnSpc>
                <a:spcPct val="100000"/>
              </a:lnSpc>
              <a:spcBef>
                <a:spcPts val="300"/>
              </a:spcBef>
              <a:buFontTx/>
              <a:buChar char="-"/>
            </a:pPr>
            <a:r>
              <a:rPr lang="en-GB" sz="2200" dirty="0">
                <a:solidFill>
                  <a:srgbClr val="4472C4"/>
                </a:solidFill>
                <a:latin typeface="+mj-lt"/>
                <a:ea typeface="Open Sans Light" panose="020B0306030504020204" pitchFamily="34" charset="0"/>
                <a:cs typeface="Open Sans Light" panose="020B0306030504020204" pitchFamily="34" charset="0"/>
              </a:rPr>
              <a:t>How it happened</a:t>
            </a:r>
          </a:p>
          <a:p>
            <a:pPr marL="285750" indent="-285750" algn="l">
              <a:lnSpc>
                <a:spcPct val="100000"/>
              </a:lnSpc>
              <a:spcBef>
                <a:spcPts val="300"/>
              </a:spcBef>
              <a:buFontTx/>
              <a:buChar char="-"/>
            </a:pPr>
            <a:r>
              <a:rPr lang="en-GB" sz="2200" dirty="0">
                <a:solidFill>
                  <a:srgbClr val="4472C4"/>
                </a:solidFill>
                <a:latin typeface="+mj-lt"/>
                <a:ea typeface="Open Sans Light" panose="020B0306030504020204" pitchFamily="34" charset="0"/>
                <a:cs typeface="Open Sans Light" panose="020B0306030504020204" pitchFamily="34" charset="0"/>
              </a:rPr>
              <a:t>Why it happened</a:t>
            </a:r>
          </a:p>
          <a:p>
            <a:pPr algn="l">
              <a:lnSpc>
                <a:spcPct val="100000"/>
              </a:lnSpc>
              <a:spcBef>
                <a:spcPts val="600"/>
              </a:spcBef>
            </a:pPr>
            <a:r>
              <a:rPr lang="en-GB" sz="2200" dirty="0">
                <a:solidFill>
                  <a:srgbClr val="4472C4"/>
                </a:solidFill>
                <a:latin typeface="+mj-lt"/>
                <a:ea typeface="Open Sans Light" panose="020B0306030504020204" pitchFamily="34" charset="0"/>
                <a:cs typeface="Open Sans Light" panose="020B0306030504020204" pitchFamily="34" charset="0"/>
                <a:sym typeface="Wingdings" panose="05000000000000000000" pitchFamily="2" charset="2"/>
              </a:rPr>
              <a:t>So that actions for preventing reoccurrence are developed</a:t>
            </a:r>
          </a:p>
        </p:txBody>
      </p:sp>
      <p:sp>
        <p:nvSpPr>
          <p:cNvPr id="192" name="Oval 4">
            <a:extLst>
              <a:ext uri="{FF2B5EF4-FFF2-40B4-BE49-F238E27FC236}">
                <a16:creationId xmlns:a16="http://schemas.microsoft.com/office/drawing/2014/main" xmlns="" id="{4588E509-F266-4DDD-BE11-F641705FF0B1}"/>
              </a:ext>
            </a:extLst>
          </p:cNvPr>
          <p:cNvSpPr/>
          <p:nvPr/>
        </p:nvSpPr>
        <p:spPr>
          <a:xfrm>
            <a:off x="5508920" y="4508221"/>
            <a:ext cx="983430" cy="98343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3" name="Oval 5">
            <a:extLst>
              <a:ext uri="{FF2B5EF4-FFF2-40B4-BE49-F238E27FC236}">
                <a16:creationId xmlns:a16="http://schemas.microsoft.com/office/drawing/2014/main" xmlns="" id="{5103922E-8015-475E-B487-6EF2973E38F7}"/>
              </a:ext>
            </a:extLst>
          </p:cNvPr>
          <p:cNvSpPr/>
          <p:nvPr/>
        </p:nvSpPr>
        <p:spPr>
          <a:xfrm>
            <a:off x="9682329" y="4508221"/>
            <a:ext cx="983430" cy="983430"/>
          </a:xfrm>
          <a:prstGeom prst="ellipse">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4" name="Oval 6">
            <a:extLst>
              <a:ext uri="{FF2B5EF4-FFF2-40B4-BE49-F238E27FC236}">
                <a16:creationId xmlns:a16="http://schemas.microsoft.com/office/drawing/2014/main" xmlns="" id="{CF5BECAA-E098-473D-8D42-B4205E01629A}"/>
              </a:ext>
            </a:extLst>
          </p:cNvPr>
          <p:cNvSpPr/>
          <p:nvPr/>
        </p:nvSpPr>
        <p:spPr>
          <a:xfrm>
            <a:off x="8245230" y="2596328"/>
            <a:ext cx="983430" cy="98343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5" name="Oval 7">
            <a:extLst>
              <a:ext uri="{FF2B5EF4-FFF2-40B4-BE49-F238E27FC236}">
                <a16:creationId xmlns:a16="http://schemas.microsoft.com/office/drawing/2014/main" xmlns="" id="{035D7BD2-62BE-4F67-815E-34A728757CB2}"/>
              </a:ext>
            </a:extLst>
          </p:cNvPr>
          <p:cNvSpPr/>
          <p:nvPr/>
        </p:nvSpPr>
        <p:spPr>
          <a:xfrm>
            <a:off x="6946021" y="2596328"/>
            <a:ext cx="983430" cy="9834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6" name="Oval 9">
            <a:extLst>
              <a:ext uri="{FF2B5EF4-FFF2-40B4-BE49-F238E27FC236}">
                <a16:creationId xmlns:a16="http://schemas.microsoft.com/office/drawing/2014/main" xmlns="" id="{5669E40C-C164-41FC-8964-2E4DAC01A26C}"/>
              </a:ext>
            </a:extLst>
          </p:cNvPr>
          <p:cNvSpPr/>
          <p:nvPr/>
        </p:nvSpPr>
        <p:spPr>
          <a:xfrm>
            <a:off x="9302563" y="3296015"/>
            <a:ext cx="983430" cy="98343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7" name="Oval 10">
            <a:extLst>
              <a:ext uri="{FF2B5EF4-FFF2-40B4-BE49-F238E27FC236}">
                <a16:creationId xmlns:a16="http://schemas.microsoft.com/office/drawing/2014/main" xmlns="" id="{6E3C2C92-29E3-46DC-A7C0-4761F0592E6F}"/>
              </a:ext>
            </a:extLst>
          </p:cNvPr>
          <p:cNvSpPr/>
          <p:nvPr/>
        </p:nvSpPr>
        <p:spPr>
          <a:xfrm>
            <a:off x="5888687" y="3296015"/>
            <a:ext cx="983430" cy="9834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8" name="TextBox 17">
            <a:extLst>
              <a:ext uri="{FF2B5EF4-FFF2-40B4-BE49-F238E27FC236}">
                <a16:creationId xmlns:a16="http://schemas.microsoft.com/office/drawing/2014/main" xmlns="" id="{006DC735-3315-43B1-B864-8191FECD4B09}"/>
              </a:ext>
            </a:extLst>
          </p:cNvPr>
          <p:cNvSpPr txBox="1"/>
          <p:nvPr/>
        </p:nvSpPr>
        <p:spPr>
          <a:xfrm>
            <a:off x="5420504" y="4700327"/>
            <a:ext cx="1073207" cy="538609"/>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blem</a:t>
            </a:r>
            <a:br>
              <a:rPr lang="en-GB" sz="1600" b="1" dirty="0">
                <a:solidFill>
                  <a:schemeClr val="bg1"/>
                </a:solidFill>
                <a:latin typeface="+mj-lt"/>
                <a:ea typeface="League Spartan" charset="0"/>
                <a:cs typeface="Poppins" pitchFamily="2" charset="77"/>
              </a:rPr>
            </a:br>
            <a:r>
              <a:rPr lang="en-GB" sz="1300" b="1" dirty="0">
                <a:solidFill>
                  <a:schemeClr val="bg1"/>
                </a:solidFill>
                <a:latin typeface="+mj-lt"/>
                <a:ea typeface="League Spartan" charset="0"/>
                <a:cs typeface="Poppins" pitchFamily="2" charset="77"/>
              </a:rPr>
              <a:t>Identification</a:t>
            </a:r>
          </a:p>
        </p:txBody>
      </p:sp>
      <p:sp>
        <p:nvSpPr>
          <p:cNvPr id="199" name="TextBox 19">
            <a:extLst>
              <a:ext uri="{FF2B5EF4-FFF2-40B4-BE49-F238E27FC236}">
                <a16:creationId xmlns:a16="http://schemas.microsoft.com/office/drawing/2014/main" xmlns="" id="{7E9A8795-786D-4B79-9CB8-9AE3ABB37C92}"/>
              </a:ext>
            </a:extLst>
          </p:cNvPr>
          <p:cNvSpPr txBox="1"/>
          <p:nvPr/>
        </p:nvSpPr>
        <p:spPr>
          <a:xfrm>
            <a:off x="5935997" y="3495344"/>
            <a:ext cx="88881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blem Solving</a:t>
            </a:r>
          </a:p>
        </p:txBody>
      </p:sp>
      <p:sp>
        <p:nvSpPr>
          <p:cNvPr id="200" name="TextBox 20">
            <a:extLst>
              <a:ext uri="{FF2B5EF4-FFF2-40B4-BE49-F238E27FC236}">
                <a16:creationId xmlns:a16="http://schemas.microsoft.com/office/drawing/2014/main" xmlns="" id="{2411AC44-2E3A-4A89-939B-53155A092400}"/>
              </a:ext>
            </a:extLst>
          </p:cNvPr>
          <p:cNvSpPr txBox="1"/>
          <p:nvPr/>
        </p:nvSpPr>
        <p:spPr>
          <a:xfrm>
            <a:off x="6993331" y="2918768"/>
            <a:ext cx="888810"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Holistic</a:t>
            </a:r>
          </a:p>
        </p:txBody>
      </p:sp>
      <p:sp>
        <p:nvSpPr>
          <p:cNvPr id="201" name="TextBox 21">
            <a:extLst>
              <a:ext uri="{FF2B5EF4-FFF2-40B4-BE49-F238E27FC236}">
                <a16:creationId xmlns:a16="http://schemas.microsoft.com/office/drawing/2014/main" xmlns="" id="{897FCDF1-E4BB-438A-B016-B42A516106CC}"/>
              </a:ext>
            </a:extLst>
          </p:cNvPr>
          <p:cNvSpPr txBox="1"/>
          <p:nvPr/>
        </p:nvSpPr>
        <p:spPr>
          <a:xfrm>
            <a:off x="8245230" y="2989217"/>
            <a:ext cx="936120" cy="292388"/>
          </a:xfrm>
          <a:prstGeom prst="rect">
            <a:avLst/>
          </a:prstGeom>
          <a:noFill/>
        </p:spPr>
        <p:txBody>
          <a:bodyPr wrap="square" rtlCol="0" anchor="ctr" anchorCtr="0">
            <a:spAutoFit/>
          </a:bodyPr>
          <a:lstStyle/>
          <a:p>
            <a:pPr algn="ctr"/>
            <a:r>
              <a:rPr lang="en-GB" sz="1300" b="1" dirty="0">
                <a:solidFill>
                  <a:schemeClr val="bg1"/>
                </a:solidFill>
                <a:latin typeface="+mj-lt"/>
                <a:ea typeface="League Spartan" charset="0"/>
                <a:cs typeface="Poppins" pitchFamily="2" charset="77"/>
              </a:rPr>
              <a:t>Economical</a:t>
            </a:r>
          </a:p>
        </p:txBody>
      </p:sp>
      <p:sp>
        <p:nvSpPr>
          <p:cNvPr id="202" name="TextBox 22">
            <a:extLst>
              <a:ext uri="{FF2B5EF4-FFF2-40B4-BE49-F238E27FC236}">
                <a16:creationId xmlns:a16="http://schemas.microsoft.com/office/drawing/2014/main" xmlns="" id="{6B92A044-EE91-4A71-AC43-451295F3BD6C}"/>
              </a:ext>
            </a:extLst>
          </p:cNvPr>
          <p:cNvSpPr txBox="1"/>
          <p:nvPr/>
        </p:nvSpPr>
        <p:spPr>
          <a:xfrm>
            <a:off x="9195916" y="3625197"/>
            <a:ext cx="1255049" cy="307777"/>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Constructive</a:t>
            </a:r>
          </a:p>
        </p:txBody>
      </p:sp>
      <p:sp>
        <p:nvSpPr>
          <p:cNvPr id="203" name="TextBox 23">
            <a:extLst>
              <a:ext uri="{FF2B5EF4-FFF2-40B4-BE49-F238E27FC236}">
                <a16:creationId xmlns:a16="http://schemas.microsoft.com/office/drawing/2014/main" xmlns="" id="{A728E1EF-D8C4-4783-9C28-2968E873561E}"/>
              </a:ext>
            </a:extLst>
          </p:cNvPr>
          <p:cNvSpPr txBox="1"/>
          <p:nvPr/>
        </p:nvSpPr>
        <p:spPr>
          <a:xfrm>
            <a:off x="9635019" y="4838353"/>
            <a:ext cx="1078050" cy="323165"/>
          </a:xfrm>
          <a:prstGeom prst="rect">
            <a:avLst/>
          </a:prstGeom>
          <a:noFill/>
        </p:spPr>
        <p:txBody>
          <a:bodyPr wrap="square" rtlCol="0" anchor="ctr" anchorCtr="0">
            <a:spAutoFit/>
          </a:bodyPr>
          <a:lstStyle/>
          <a:p>
            <a:pPr algn="ctr"/>
            <a:r>
              <a:rPr lang="en-GB" sz="1500" b="1" dirty="0">
                <a:solidFill>
                  <a:schemeClr val="bg1"/>
                </a:solidFill>
                <a:latin typeface="+mj-lt"/>
                <a:ea typeface="League Spartan" charset="0"/>
                <a:cs typeface="Poppins" pitchFamily="2" charset="77"/>
              </a:rPr>
              <a:t>Exculpatory</a:t>
            </a:r>
          </a:p>
        </p:txBody>
      </p:sp>
      <p:sp>
        <p:nvSpPr>
          <p:cNvPr id="204" name="Subtitle 2">
            <a:extLst>
              <a:ext uri="{FF2B5EF4-FFF2-40B4-BE49-F238E27FC236}">
                <a16:creationId xmlns:a16="http://schemas.microsoft.com/office/drawing/2014/main" xmlns="" id="{C93DA2B4-D0CE-42FC-AD64-4C35F1100E78}"/>
              </a:ext>
            </a:extLst>
          </p:cNvPr>
          <p:cNvSpPr txBox="1">
            <a:spLocks/>
          </p:cNvSpPr>
          <p:nvPr/>
        </p:nvSpPr>
        <p:spPr>
          <a:xfrm>
            <a:off x="10713069" y="4659454"/>
            <a:ext cx="1615477" cy="1265739"/>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provides rationale for strategy selection</a:t>
            </a:r>
          </a:p>
        </p:txBody>
      </p:sp>
      <p:sp>
        <p:nvSpPr>
          <p:cNvPr id="205" name="Subtitle 2">
            <a:extLst>
              <a:ext uri="{FF2B5EF4-FFF2-40B4-BE49-F238E27FC236}">
                <a16:creationId xmlns:a16="http://schemas.microsoft.com/office/drawing/2014/main" xmlns="" id="{9A5A60F4-5A97-4A7E-9293-84AD0099AD4C}"/>
              </a:ext>
            </a:extLst>
          </p:cNvPr>
          <p:cNvSpPr txBox="1">
            <a:spLocks/>
          </p:cNvSpPr>
          <p:nvPr/>
        </p:nvSpPr>
        <p:spPr>
          <a:xfrm>
            <a:off x="8916641" y="2051408"/>
            <a:ext cx="2006130"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conserves resources</a:t>
            </a:r>
          </a:p>
        </p:txBody>
      </p:sp>
      <p:sp>
        <p:nvSpPr>
          <p:cNvPr id="206" name="Subtitle 2">
            <a:extLst>
              <a:ext uri="{FF2B5EF4-FFF2-40B4-BE49-F238E27FC236}">
                <a16:creationId xmlns:a16="http://schemas.microsoft.com/office/drawing/2014/main" xmlns="" id="{46714372-4EF3-4CEA-BA5B-BE2D998315B1}"/>
              </a:ext>
            </a:extLst>
          </p:cNvPr>
          <p:cNvSpPr txBox="1">
            <a:spLocks/>
          </p:cNvSpPr>
          <p:nvPr/>
        </p:nvSpPr>
        <p:spPr>
          <a:xfrm>
            <a:off x="10353410" y="2880493"/>
            <a:ext cx="1615477" cy="1265739"/>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leading facilitates discussion (to solutions)</a:t>
            </a:r>
          </a:p>
        </p:txBody>
      </p:sp>
      <p:sp>
        <p:nvSpPr>
          <p:cNvPr id="207" name="Subtitle 2">
            <a:extLst>
              <a:ext uri="{FF2B5EF4-FFF2-40B4-BE49-F238E27FC236}">
                <a16:creationId xmlns:a16="http://schemas.microsoft.com/office/drawing/2014/main" xmlns="" id="{87086ACD-67B3-4E1B-9869-A4C8EE49B1E6}"/>
              </a:ext>
            </a:extLst>
          </p:cNvPr>
          <p:cNvSpPr txBox="1">
            <a:spLocks/>
          </p:cNvSpPr>
          <p:nvPr/>
        </p:nvSpPr>
        <p:spPr>
          <a:xfrm>
            <a:off x="4791730" y="2490554"/>
            <a:ext cx="2006130"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liminates patching</a:t>
            </a:r>
          </a:p>
        </p:txBody>
      </p:sp>
      <p:sp>
        <p:nvSpPr>
          <p:cNvPr id="208" name="Subtitle 2">
            <a:extLst>
              <a:ext uri="{FF2B5EF4-FFF2-40B4-BE49-F238E27FC236}">
                <a16:creationId xmlns:a16="http://schemas.microsoft.com/office/drawing/2014/main" xmlns="" id="{62813BE5-430C-4673-95C6-7AEA90B86E2A}"/>
              </a:ext>
            </a:extLst>
          </p:cNvPr>
          <p:cNvSpPr txBox="1">
            <a:spLocks/>
          </p:cNvSpPr>
          <p:nvPr/>
        </p:nvSpPr>
        <p:spPr>
          <a:xfrm>
            <a:off x="4085797" y="3456062"/>
            <a:ext cx="1615477"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helps resolve the problem</a:t>
            </a:r>
          </a:p>
        </p:txBody>
      </p:sp>
      <p:sp>
        <p:nvSpPr>
          <p:cNvPr id="209" name="Subtitle 2">
            <a:extLst>
              <a:ext uri="{FF2B5EF4-FFF2-40B4-BE49-F238E27FC236}">
                <a16:creationId xmlns:a16="http://schemas.microsoft.com/office/drawing/2014/main" xmlns="" id="{0EAB1A67-AFC6-4496-A5BD-9403B34D9F97}"/>
              </a:ext>
            </a:extLst>
          </p:cNvPr>
          <p:cNvSpPr txBox="1">
            <a:spLocks/>
          </p:cNvSpPr>
          <p:nvPr/>
        </p:nvSpPr>
        <p:spPr>
          <a:xfrm>
            <a:off x="3759260" y="4520957"/>
            <a:ext cx="1615477" cy="95796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helps identify the problem or challenge</a:t>
            </a:r>
          </a:p>
        </p:txBody>
      </p:sp>
    </p:spTree>
    <p:extLst>
      <p:ext uri="{BB962C8B-B14F-4D97-AF65-F5344CB8AC3E}">
        <p14:creationId xmlns:p14="http://schemas.microsoft.com/office/powerpoint/2010/main" val="8500823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61005" y="657933"/>
            <a:ext cx="8852375" cy="697353"/>
          </a:xfrm>
        </p:spPr>
        <p:txBody>
          <a:bodyPr>
            <a:normAutofit fontScale="92500"/>
          </a:bodyPr>
          <a:lstStyle/>
          <a:p>
            <a:r>
              <a:rPr lang="en-GB" dirty="0"/>
              <a:t>How to identify risks:  6  Step Root-Cause-Analysis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2845109" cy="312936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literature describes different approaches to Root Cause Analysis. Regardless of the concrete process definition and design of the analysis, these 6 central components should be included. </a:t>
            </a:r>
          </a:p>
        </p:txBody>
      </p:sp>
      <p:sp>
        <p:nvSpPr>
          <p:cNvPr id="68" name="Freeform 5">
            <a:extLst>
              <a:ext uri="{FF2B5EF4-FFF2-40B4-BE49-F238E27FC236}">
                <a16:creationId xmlns:a16="http://schemas.microsoft.com/office/drawing/2014/main" xmlns="" id="{BD570C19-C14C-4625-9AE4-BE3853D0F8DD}"/>
              </a:ext>
            </a:extLst>
          </p:cNvPr>
          <p:cNvSpPr>
            <a:spLocks/>
          </p:cNvSpPr>
          <p:nvPr/>
        </p:nvSpPr>
        <p:spPr bwMode="auto">
          <a:xfrm>
            <a:off x="6423495" y="3434042"/>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69" name="Freeform 6">
            <a:extLst>
              <a:ext uri="{FF2B5EF4-FFF2-40B4-BE49-F238E27FC236}">
                <a16:creationId xmlns:a16="http://schemas.microsoft.com/office/drawing/2014/main" xmlns="" id="{56C93D2E-27DA-466B-B165-DA09A7937F79}"/>
              </a:ext>
            </a:extLst>
          </p:cNvPr>
          <p:cNvSpPr>
            <a:spLocks/>
          </p:cNvSpPr>
          <p:nvPr/>
        </p:nvSpPr>
        <p:spPr bwMode="auto">
          <a:xfrm>
            <a:off x="8083511" y="4335956"/>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0" name="Freeform 7">
            <a:extLst>
              <a:ext uri="{FF2B5EF4-FFF2-40B4-BE49-F238E27FC236}">
                <a16:creationId xmlns:a16="http://schemas.microsoft.com/office/drawing/2014/main" xmlns="" id="{C1320645-D783-4A1D-B19B-42F781BBC131}"/>
              </a:ext>
            </a:extLst>
          </p:cNvPr>
          <p:cNvSpPr>
            <a:spLocks/>
          </p:cNvSpPr>
          <p:nvPr/>
        </p:nvSpPr>
        <p:spPr bwMode="auto">
          <a:xfrm>
            <a:off x="6423494" y="4335956"/>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1" name="Freeform 5">
            <a:extLst>
              <a:ext uri="{FF2B5EF4-FFF2-40B4-BE49-F238E27FC236}">
                <a16:creationId xmlns:a16="http://schemas.microsoft.com/office/drawing/2014/main" xmlns="" id="{6EFB2D75-A345-4B2C-90C8-D7E2B235A934}"/>
              </a:ext>
            </a:extLst>
          </p:cNvPr>
          <p:cNvSpPr>
            <a:spLocks/>
          </p:cNvSpPr>
          <p:nvPr/>
        </p:nvSpPr>
        <p:spPr bwMode="auto">
          <a:xfrm>
            <a:off x="6703805" y="3180691"/>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2" name="Freeform 6">
            <a:extLst>
              <a:ext uri="{FF2B5EF4-FFF2-40B4-BE49-F238E27FC236}">
                <a16:creationId xmlns:a16="http://schemas.microsoft.com/office/drawing/2014/main" xmlns="" id="{4D98A4EF-B473-47BA-9381-2D8CAF134B03}"/>
              </a:ext>
            </a:extLst>
          </p:cNvPr>
          <p:cNvSpPr>
            <a:spLocks/>
          </p:cNvSpPr>
          <p:nvPr/>
        </p:nvSpPr>
        <p:spPr bwMode="auto">
          <a:xfrm>
            <a:off x="8083512" y="3930309"/>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3" name="Freeform 7">
            <a:extLst>
              <a:ext uri="{FF2B5EF4-FFF2-40B4-BE49-F238E27FC236}">
                <a16:creationId xmlns:a16="http://schemas.microsoft.com/office/drawing/2014/main" xmlns="" id="{88FA3384-B961-4711-A319-571413E0BE3D}"/>
              </a:ext>
            </a:extLst>
          </p:cNvPr>
          <p:cNvSpPr>
            <a:spLocks/>
          </p:cNvSpPr>
          <p:nvPr/>
        </p:nvSpPr>
        <p:spPr bwMode="auto">
          <a:xfrm>
            <a:off x="6703805" y="3930309"/>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4" name="Freeform 19">
            <a:extLst>
              <a:ext uri="{FF2B5EF4-FFF2-40B4-BE49-F238E27FC236}">
                <a16:creationId xmlns:a16="http://schemas.microsoft.com/office/drawing/2014/main" xmlns="" id="{6F31A220-A2ED-4981-8AEF-31BA0FECCFAE}"/>
              </a:ext>
            </a:extLst>
          </p:cNvPr>
          <p:cNvSpPr>
            <a:spLocks/>
          </p:cNvSpPr>
          <p:nvPr/>
        </p:nvSpPr>
        <p:spPr bwMode="auto">
          <a:xfrm>
            <a:off x="6969210" y="2964435"/>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5" name="Freeform 20">
            <a:extLst>
              <a:ext uri="{FF2B5EF4-FFF2-40B4-BE49-F238E27FC236}">
                <a16:creationId xmlns:a16="http://schemas.microsoft.com/office/drawing/2014/main" xmlns="" id="{E8195B65-A3FD-452F-9EDC-C31D2B7B2822}"/>
              </a:ext>
            </a:extLst>
          </p:cNvPr>
          <p:cNvSpPr>
            <a:spLocks/>
          </p:cNvSpPr>
          <p:nvPr/>
        </p:nvSpPr>
        <p:spPr bwMode="auto">
          <a:xfrm>
            <a:off x="8082035" y="3569507"/>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6" name="Freeform 21">
            <a:extLst>
              <a:ext uri="{FF2B5EF4-FFF2-40B4-BE49-F238E27FC236}">
                <a16:creationId xmlns:a16="http://schemas.microsoft.com/office/drawing/2014/main" xmlns="" id="{8C176A2E-139C-4C69-AFA7-6400A384FD09}"/>
              </a:ext>
            </a:extLst>
          </p:cNvPr>
          <p:cNvSpPr>
            <a:spLocks/>
          </p:cNvSpPr>
          <p:nvPr/>
        </p:nvSpPr>
        <p:spPr bwMode="auto">
          <a:xfrm>
            <a:off x="6969210" y="3569507"/>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7" name="Freeform 11">
            <a:extLst>
              <a:ext uri="{FF2B5EF4-FFF2-40B4-BE49-F238E27FC236}">
                <a16:creationId xmlns:a16="http://schemas.microsoft.com/office/drawing/2014/main" xmlns="" id="{6C26DD2D-C79A-443D-BC16-588678337B3C}"/>
              </a:ext>
            </a:extLst>
          </p:cNvPr>
          <p:cNvSpPr>
            <a:spLocks/>
          </p:cNvSpPr>
          <p:nvPr/>
        </p:nvSpPr>
        <p:spPr bwMode="auto">
          <a:xfrm>
            <a:off x="7295670" y="2869191"/>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8" name="Freeform 12">
            <a:extLst>
              <a:ext uri="{FF2B5EF4-FFF2-40B4-BE49-F238E27FC236}">
                <a16:creationId xmlns:a16="http://schemas.microsoft.com/office/drawing/2014/main" xmlns="" id="{9487D13C-0A3B-411A-A55E-FC1C830EE103}"/>
              </a:ext>
            </a:extLst>
          </p:cNvPr>
          <p:cNvSpPr>
            <a:spLocks/>
          </p:cNvSpPr>
          <p:nvPr/>
        </p:nvSpPr>
        <p:spPr bwMode="auto">
          <a:xfrm>
            <a:off x="8082527" y="3297224"/>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9" name="Freeform 13">
            <a:extLst>
              <a:ext uri="{FF2B5EF4-FFF2-40B4-BE49-F238E27FC236}">
                <a16:creationId xmlns:a16="http://schemas.microsoft.com/office/drawing/2014/main" xmlns="" id="{0020CAAE-1F9F-48B3-8F4D-4D88E02221FB}"/>
              </a:ext>
            </a:extLst>
          </p:cNvPr>
          <p:cNvSpPr>
            <a:spLocks/>
          </p:cNvSpPr>
          <p:nvPr/>
        </p:nvSpPr>
        <p:spPr bwMode="auto">
          <a:xfrm>
            <a:off x="7295671" y="3297224"/>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chemeClr val="accent4">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0" name="Freeform 14">
            <a:extLst>
              <a:ext uri="{FF2B5EF4-FFF2-40B4-BE49-F238E27FC236}">
                <a16:creationId xmlns:a16="http://schemas.microsoft.com/office/drawing/2014/main" xmlns="" id="{1B5334C1-3DFD-44A6-95DF-6C65A6E49D4A}"/>
              </a:ext>
            </a:extLst>
          </p:cNvPr>
          <p:cNvSpPr>
            <a:spLocks/>
          </p:cNvSpPr>
          <p:nvPr/>
        </p:nvSpPr>
        <p:spPr bwMode="auto">
          <a:xfrm>
            <a:off x="7527099" y="2671982"/>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1" name="Freeform 15">
            <a:extLst>
              <a:ext uri="{FF2B5EF4-FFF2-40B4-BE49-F238E27FC236}">
                <a16:creationId xmlns:a16="http://schemas.microsoft.com/office/drawing/2014/main" xmlns="" id="{B8C7D73F-BFCB-40F0-B65B-D3A2BDA8630C}"/>
              </a:ext>
            </a:extLst>
          </p:cNvPr>
          <p:cNvSpPr>
            <a:spLocks/>
          </p:cNvSpPr>
          <p:nvPr/>
        </p:nvSpPr>
        <p:spPr bwMode="auto">
          <a:xfrm>
            <a:off x="8083513" y="2975639"/>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chemeClr val="accent5">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2" name="Freeform 16">
            <a:extLst>
              <a:ext uri="{FF2B5EF4-FFF2-40B4-BE49-F238E27FC236}">
                <a16:creationId xmlns:a16="http://schemas.microsoft.com/office/drawing/2014/main" xmlns="" id="{12607660-9D68-4F74-A7FF-F5A02ED7C650}"/>
              </a:ext>
            </a:extLst>
          </p:cNvPr>
          <p:cNvSpPr>
            <a:spLocks/>
          </p:cNvSpPr>
          <p:nvPr/>
        </p:nvSpPr>
        <p:spPr bwMode="auto">
          <a:xfrm>
            <a:off x="7527099" y="2975639"/>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3" name="Freeform 17">
            <a:extLst>
              <a:ext uri="{FF2B5EF4-FFF2-40B4-BE49-F238E27FC236}">
                <a16:creationId xmlns:a16="http://schemas.microsoft.com/office/drawing/2014/main" xmlns="" id="{F4AD5132-60D4-432E-AB39-5F008EBC667D}"/>
              </a:ext>
            </a:extLst>
          </p:cNvPr>
          <p:cNvSpPr>
            <a:spLocks/>
          </p:cNvSpPr>
          <p:nvPr/>
        </p:nvSpPr>
        <p:spPr bwMode="auto">
          <a:xfrm>
            <a:off x="7635427" y="2481497"/>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chemeClr val="accent6">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4" name="Freeform 18">
            <a:extLst>
              <a:ext uri="{FF2B5EF4-FFF2-40B4-BE49-F238E27FC236}">
                <a16:creationId xmlns:a16="http://schemas.microsoft.com/office/drawing/2014/main" xmlns="" id="{53DEEB98-E633-4181-9F65-12BCD3E42135}"/>
              </a:ext>
            </a:extLst>
          </p:cNvPr>
          <p:cNvSpPr>
            <a:spLocks/>
          </p:cNvSpPr>
          <p:nvPr/>
        </p:nvSpPr>
        <p:spPr bwMode="auto">
          <a:xfrm>
            <a:off x="7635427" y="2481497"/>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chemeClr val="accent6">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cxnSp>
        <p:nvCxnSpPr>
          <p:cNvPr id="85" name="Straight Arrow Connector 28">
            <a:extLst>
              <a:ext uri="{FF2B5EF4-FFF2-40B4-BE49-F238E27FC236}">
                <a16:creationId xmlns:a16="http://schemas.microsoft.com/office/drawing/2014/main" xmlns="" id="{F7331955-03E9-426C-95C1-C73F8C153614}"/>
              </a:ext>
            </a:extLst>
          </p:cNvPr>
          <p:cNvCxnSpPr>
            <a:cxnSpLocks/>
          </p:cNvCxnSpPr>
          <p:nvPr/>
        </p:nvCxnSpPr>
        <p:spPr>
          <a:xfrm>
            <a:off x="8084481" y="248233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Arrow Connector 29">
            <a:extLst>
              <a:ext uri="{FF2B5EF4-FFF2-40B4-BE49-F238E27FC236}">
                <a16:creationId xmlns:a16="http://schemas.microsoft.com/office/drawing/2014/main" xmlns="" id="{2F37ADB5-0FBC-4E67-BEBD-FF8E12FE9EAA}"/>
              </a:ext>
            </a:extLst>
          </p:cNvPr>
          <p:cNvCxnSpPr>
            <a:cxnSpLocks/>
          </p:cNvCxnSpPr>
          <p:nvPr/>
        </p:nvCxnSpPr>
        <p:spPr>
          <a:xfrm>
            <a:off x="8860135" y="3307789"/>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7" name="Straight Arrow Connector 30">
            <a:extLst>
              <a:ext uri="{FF2B5EF4-FFF2-40B4-BE49-F238E27FC236}">
                <a16:creationId xmlns:a16="http://schemas.microsoft.com/office/drawing/2014/main" xmlns="" id="{CE592C9B-8C3A-4A81-B516-D66C675FECB2}"/>
              </a:ext>
            </a:extLst>
          </p:cNvPr>
          <p:cNvCxnSpPr>
            <a:cxnSpLocks/>
          </p:cNvCxnSpPr>
          <p:nvPr/>
        </p:nvCxnSpPr>
        <p:spPr>
          <a:xfrm>
            <a:off x="9455907" y="3943165"/>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8" name="Straight Arrow Connector 31">
            <a:extLst>
              <a:ext uri="{FF2B5EF4-FFF2-40B4-BE49-F238E27FC236}">
                <a16:creationId xmlns:a16="http://schemas.microsoft.com/office/drawing/2014/main" xmlns="" id="{7D844583-3B27-4D30-BB10-80A742B099F4}"/>
              </a:ext>
            </a:extLst>
          </p:cNvPr>
          <p:cNvCxnSpPr>
            <a:cxnSpLocks/>
          </p:cNvCxnSpPr>
          <p:nvPr/>
        </p:nvCxnSpPr>
        <p:spPr>
          <a:xfrm rot="10800000">
            <a:off x="5570805" y="4338180"/>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9" name="Straight Arrow Connector 32">
            <a:extLst>
              <a:ext uri="{FF2B5EF4-FFF2-40B4-BE49-F238E27FC236}">
                <a16:creationId xmlns:a16="http://schemas.microsoft.com/office/drawing/2014/main" xmlns="" id="{09584BA3-642D-4328-A811-7179FCBB4822}"/>
              </a:ext>
            </a:extLst>
          </p:cNvPr>
          <p:cNvCxnSpPr>
            <a:cxnSpLocks/>
          </p:cNvCxnSpPr>
          <p:nvPr/>
        </p:nvCxnSpPr>
        <p:spPr>
          <a:xfrm rot="10800000">
            <a:off x="6119373" y="3573602"/>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Arrow Connector 33">
            <a:extLst>
              <a:ext uri="{FF2B5EF4-FFF2-40B4-BE49-F238E27FC236}">
                <a16:creationId xmlns:a16="http://schemas.microsoft.com/office/drawing/2014/main" xmlns="" id="{AD132FDE-85F4-43BE-832D-0CADA4F3980D}"/>
              </a:ext>
            </a:extLst>
          </p:cNvPr>
          <p:cNvCxnSpPr>
            <a:cxnSpLocks/>
          </p:cNvCxnSpPr>
          <p:nvPr/>
        </p:nvCxnSpPr>
        <p:spPr>
          <a:xfrm rot="10800000">
            <a:off x="6664169" y="298918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92" name="TextBox 47">
            <a:extLst>
              <a:ext uri="{FF2B5EF4-FFF2-40B4-BE49-F238E27FC236}">
                <a16:creationId xmlns:a16="http://schemas.microsoft.com/office/drawing/2014/main" xmlns="" id="{25B41076-1DE2-4AA6-8B57-3E822148A060}"/>
              </a:ext>
            </a:extLst>
          </p:cNvPr>
          <p:cNvSpPr txBox="1"/>
          <p:nvPr/>
        </p:nvSpPr>
        <p:spPr>
          <a:xfrm>
            <a:off x="9036023" y="2273635"/>
            <a:ext cx="1609030"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06. Evaluation</a:t>
            </a:r>
          </a:p>
        </p:txBody>
      </p:sp>
      <p:sp>
        <p:nvSpPr>
          <p:cNvPr id="94" name="TextBox 49">
            <a:extLst>
              <a:ext uri="{FF2B5EF4-FFF2-40B4-BE49-F238E27FC236}">
                <a16:creationId xmlns:a16="http://schemas.microsoft.com/office/drawing/2014/main" xmlns="" id="{F53CC3FD-0B57-46E4-804C-A5271A92E7D4}"/>
              </a:ext>
            </a:extLst>
          </p:cNvPr>
          <p:cNvSpPr txBox="1"/>
          <p:nvPr/>
        </p:nvSpPr>
        <p:spPr>
          <a:xfrm>
            <a:off x="9799869" y="3095621"/>
            <a:ext cx="2402645"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04. Determine Causes</a:t>
            </a:r>
          </a:p>
        </p:txBody>
      </p:sp>
      <p:sp>
        <p:nvSpPr>
          <p:cNvPr id="96" name="TextBox 51">
            <a:extLst>
              <a:ext uri="{FF2B5EF4-FFF2-40B4-BE49-F238E27FC236}">
                <a16:creationId xmlns:a16="http://schemas.microsoft.com/office/drawing/2014/main" xmlns="" id="{8B26284A-343A-4264-9482-F82BDD5C5277}"/>
              </a:ext>
            </a:extLst>
          </p:cNvPr>
          <p:cNvSpPr txBox="1"/>
          <p:nvPr/>
        </p:nvSpPr>
        <p:spPr>
          <a:xfrm>
            <a:off x="10415232" y="3734897"/>
            <a:ext cx="1653722"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02. Definitions</a:t>
            </a:r>
          </a:p>
        </p:txBody>
      </p:sp>
      <p:sp>
        <p:nvSpPr>
          <p:cNvPr id="98" name="TextBox 53">
            <a:extLst>
              <a:ext uri="{FF2B5EF4-FFF2-40B4-BE49-F238E27FC236}">
                <a16:creationId xmlns:a16="http://schemas.microsoft.com/office/drawing/2014/main" xmlns="" id="{E707E67E-E7DA-4EB4-9DAD-4B3EE6E8164F}"/>
              </a:ext>
            </a:extLst>
          </p:cNvPr>
          <p:cNvSpPr txBox="1"/>
          <p:nvPr/>
        </p:nvSpPr>
        <p:spPr>
          <a:xfrm>
            <a:off x="4443191" y="4149637"/>
            <a:ext cx="1100878"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1. Team</a:t>
            </a:r>
          </a:p>
        </p:txBody>
      </p:sp>
      <p:sp>
        <p:nvSpPr>
          <p:cNvPr id="100" name="TextBox 55">
            <a:extLst>
              <a:ext uri="{FF2B5EF4-FFF2-40B4-BE49-F238E27FC236}">
                <a16:creationId xmlns:a16="http://schemas.microsoft.com/office/drawing/2014/main" xmlns="" id="{4F639777-5613-4529-AF4F-D95245289EB1}"/>
              </a:ext>
            </a:extLst>
          </p:cNvPr>
          <p:cNvSpPr txBox="1"/>
          <p:nvPr/>
        </p:nvSpPr>
        <p:spPr>
          <a:xfrm>
            <a:off x="4184212" y="3374886"/>
            <a:ext cx="1890454"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3. Data Analysis</a:t>
            </a:r>
          </a:p>
        </p:txBody>
      </p:sp>
      <p:sp>
        <p:nvSpPr>
          <p:cNvPr id="102" name="TextBox 57">
            <a:extLst>
              <a:ext uri="{FF2B5EF4-FFF2-40B4-BE49-F238E27FC236}">
                <a16:creationId xmlns:a16="http://schemas.microsoft.com/office/drawing/2014/main" xmlns="" id="{213A4969-F376-479C-B76C-391B6DA8F14D}"/>
              </a:ext>
            </a:extLst>
          </p:cNvPr>
          <p:cNvSpPr txBox="1"/>
          <p:nvPr/>
        </p:nvSpPr>
        <p:spPr>
          <a:xfrm>
            <a:off x="3752517" y="2777238"/>
            <a:ext cx="2861617"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5. Improvement Planning</a:t>
            </a:r>
          </a:p>
        </p:txBody>
      </p:sp>
    </p:spTree>
    <p:extLst>
      <p:ext uri="{BB962C8B-B14F-4D97-AF65-F5344CB8AC3E}">
        <p14:creationId xmlns:p14="http://schemas.microsoft.com/office/powerpoint/2010/main" val="4860768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Root-Cause-Analysis: Hints and Tip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4625" y="2113960"/>
            <a:ext cx="2959575" cy="143659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o perform a successful Root Cause Analysis you should observe a few basic rules. </a:t>
            </a:r>
          </a:p>
        </p:txBody>
      </p:sp>
      <p:sp>
        <p:nvSpPr>
          <p:cNvPr id="5" name="Rectangle 8">
            <a:extLst>
              <a:ext uri="{FF2B5EF4-FFF2-40B4-BE49-F238E27FC236}">
                <a16:creationId xmlns:a16="http://schemas.microsoft.com/office/drawing/2014/main" xmlns="" id="{BA977963-52E8-4487-813D-84E3894A7EAD}"/>
              </a:ext>
            </a:extLst>
          </p:cNvPr>
          <p:cNvSpPr/>
          <p:nvPr/>
        </p:nvSpPr>
        <p:spPr>
          <a:xfrm>
            <a:off x="11645566" y="5063189"/>
            <a:ext cx="570458" cy="1683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0" name="Subtitle 2">
            <a:extLst>
              <a:ext uri="{FF2B5EF4-FFF2-40B4-BE49-F238E27FC236}">
                <a16:creationId xmlns:a16="http://schemas.microsoft.com/office/drawing/2014/main" xmlns="" id="{E511CA7B-61CF-46AD-9165-9054F03C440C}"/>
              </a:ext>
            </a:extLst>
          </p:cNvPr>
          <p:cNvSpPr txBox="1">
            <a:spLocks/>
          </p:cNvSpPr>
          <p:nvPr/>
        </p:nvSpPr>
        <p:spPr>
          <a:xfrm>
            <a:off x="3208839" y="1911561"/>
            <a:ext cx="8401623" cy="445280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t is important to select the right team to carry out the Root Cause Analysis. Members should have the knowledge of the process and should be able to explore the why, what and how</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Don’t jump in with solutions: the problem and the solution may not be obvious</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Make sure you are aware of the causal relationships – not just for the issue but also for the solution</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uggest improvements that you can implement and are owned and signed up to by your team</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Having a facilitator with experience in the process will make things easier</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Practicing the tools and techniques will ensure that you maintain the skills needed</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Only take responsibility for actions over which you have control: Don’t agree on an action plan for something you can’t implement </a:t>
            </a:r>
          </a:p>
        </p:txBody>
      </p:sp>
      <p:pic>
        <p:nvPicPr>
          <p:cNvPr id="11" name="Graphic 10" descr="Lightbulb and gear outline">
            <a:extLst>
              <a:ext uri="{FF2B5EF4-FFF2-40B4-BE49-F238E27FC236}">
                <a16:creationId xmlns:a16="http://schemas.microsoft.com/office/drawing/2014/main" xmlns="" id="{370FD769-12BC-4851-AC67-BDD412AA9DE9}"/>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81538" y="3833103"/>
            <a:ext cx="2087611" cy="2087611"/>
          </a:xfrm>
          <a:prstGeom prst="rect">
            <a:avLst/>
          </a:prstGeom>
        </p:spPr>
      </p:pic>
    </p:spTree>
    <p:extLst>
      <p:ext uri="{BB962C8B-B14F-4D97-AF65-F5344CB8AC3E}">
        <p14:creationId xmlns:p14="http://schemas.microsoft.com/office/powerpoint/2010/main" val="22015902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Root-Cause-Analysis Tools: Pitfall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2543" y="2142714"/>
            <a:ext cx="2520436"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Root Cause Analysis needs some practice - but if you follow the above rules while avoiding the adjacent pitfalls, it is a very helpful tool.</a:t>
            </a:r>
          </a:p>
        </p:txBody>
      </p:sp>
      <p:sp>
        <p:nvSpPr>
          <p:cNvPr id="5" name="Freeform: Shape 2425">
            <a:extLst>
              <a:ext uri="{FF2B5EF4-FFF2-40B4-BE49-F238E27FC236}">
                <a16:creationId xmlns:a16="http://schemas.microsoft.com/office/drawing/2014/main" xmlns="" id="{39ED261F-E808-4978-A89B-081ED78A8E02}"/>
              </a:ext>
            </a:extLst>
          </p:cNvPr>
          <p:cNvSpPr/>
          <p:nvPr/>
        </p:nvSpPr>
        <p:spPr>
          <a:xfrm>
            <a:off x="9303178" y="3055928"/>
            <a:ext cx="2405164" cy="2682481"/>
          </a:xfrm>
          <a:custGeom>
            <a:avLst/>
            <a:gdLst/>
            <a:ahLst/>
            <a:cxnLst>
              <a:cxn ang="3cd4">
                <a:pos x="hc" y="t"/>
              </a:cxn>
              <a:cxn ang="cd2">
                <a:pos x="l" y="vc"/>
              </a:cxn>
              <a:cxn ang="cd4">
                <a:pos x="hc" y="b"/>
              </a:cxn>
              <a:cxn ang="0">
                <a:pos x="r" y="vc"/>
              </a:cxn>
            </a:cxnLst>
            <a:rect l="l" t="t" r="r" b="b"/>
            <a:pathLst>
              <a:path w="1831" h="2042">
                <a:moveTo>
                  <a:pt x="1831" y="154"/>
                </a:moveTo>
                <a:lnTo>
                  <a:pt x="1468" y="0"/>
                </a:lnTo>
                <a:lnTo>
                  <a:pt x="1504" y="84"/>
                </a:lnTo>
                <a:lnTo>
                  <a:pt x="977" y="84"/>
                </a:lnTo>
                <a:cubicBezTo>
                  <a:pt x="568" y="84"/>
                  <a:pt x="297" y="173"/>
                  <a:pt x="149" y="354"/>
                </a:cubicBezTo>
                <a:cubicBezTo>
                  <a:pt x="12" y="522"/>
                  <a:pt x="0" y="741"/>
                  <a:pt x="0" y="932"/>
                </a:cubicBezTo>
                <a:lnTo>
                  <a:pt x="0" y="2042"/>
                </a:lnTo>
                <a:lnTo>
                  <a:pt x="138" y="2042"/>
                </a:lnTo>
                <a:lnTo>
                  <a:pt x="138" y="932"/>
                </a:lnTo>
                <a:cubicBezTo>
                  <a:pt x="138" y="757"/>
                  <a:pt x="147" y="574"/>
                  <a:pt x="256" y="442"/>
                </a:cubicBezTo>
                <a:cubicBezTo>
                  <a:pt x="376" y="294"/>
                  <a:pt x="612" y="223"/>
                  <a:pt x="977" y="223"/>
                </a:cubicBezTo>
                <a:lnTo>
                  <a:pt x="1504" y="223"/>
                </a:lnTo>
                <a:lnTo>
                  <a:pt x="1468" y="307"/>
                </a:lnTo>
                <a:close/>
              </a:path>
            </a:pathLst>
          </a:custGeom>
          <a:solidFill>
            <a:schemeClr val="accent2"/>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6" name="Freeform: Shape 2426">
            <a:extLst>
              <a:ext uri="{FF2B5EF4-FFF2-40B4-BE49-F238E27FC236}">
                <a16:creationId xmlns:a16="http://schemas.microsoft.com/office/drawing/2014/main" xmlns="" id="{D45FA1E6-3E47-4BC6-A9C0-2BCEA116EB8E}"/>
              </a:ext>
            </a:extLst>
          </p:cNvPr>
          <p:cNvSpPr/>
          <p:nvPr/>
        </p:nvSpPr>
        <p:spPr>
          <a:xfrm>
            <a:off x="9566034" y="2142491"/>
            <a:ext cx="441604" cy="3595914"/>
          </a:xfrm>
          <a:custGeom>
            <a:avLst/>
            <a:gdLst/>
            <a:ahLst/>
            <a:cxnLst>
              <a:cxn ang="3cd4">
                <a:pos x="hc" y="t"/>
              </a:cxn>
              <a:cxn ang="cd2">
                <a:pos x="l" y="vc"/>
              </a:cxn>
              <a:cxn ang="cd4">
                <a:pos x="hc" y="b"/>
              </a:cxn>
              <a:cxn ang="0">
                <a:pos x="r" y="vc"/>
              </a:cxn>
            </a:cxnLst>
            <a:rect l="l" t="t" r="r" b="b"/>
            <a:pathLst>
              <a:path w="337" h="2737">
                <a:moveTo>
                  <a:pt x="337" y="411"/>
                </a:moveTo>
                <a:lnTo>
                  <a:pt x="168" y="0"/>
                </a:lnTo>
                <a:lnTo>
                  <a:pt x="0" y="411"/>
                </a:lnTo>
                <a:lnTo>
                  <a:pt x="99" y="354"/>
                </a:lnTo>
                <a:lnTo>
                  <a:pt x="99" y="2737"/>
                </a:lnTo>
                <a:lnTo>
                  <a:pt x="237" y="2737"/>
                </a:lnTo>
                <a:lnTo>
                  <a:pt x="237" y="354"/>
                </a:lnTo>
                <a:close/>
              </a:path>
            </a:pathLst>
          </a:custGeom>
          <a:solidFill>
            <a:schemeClr val="accent3"/>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7" name="Freeform: Shape 2427">
            <a:extLst>
              <a:ext uri="{FF2B5EF4-FFF2-40B4-BE49-F238E27FC236}">
                <a16:creationId xmlns:a16="http://schemas.microsoft.com/office/drawing/2014/main" xmlns="" id="{09AD105E-F02E-48AA-B4E4-E40C4B75CE8B}"/>
              </a:ext>
            </a:extLst>
          </p:cNvPr>
          <p:cNvSpPr/>
          <p:nvPr/>
        </p:nvSpPr>
        <p:spPr>
          <a:xfrm>
            <a:off x="10091753" y="3653933"/>
            <a:ext cx="1265668" cy="2084476"/>
          </a:xfrm>
          <a:custGeom>
            <a:avLst/>
            <a:gdLst/>
            <a:ahLst/>
            <a:cxnLst>
              <a:cxn ang="3cd4">
                <a:pos x="hc" y="t"/>
              </a:cxn>
              <a:cxn ang="cd2">
                <a:pos x="l" y="vc"/>
              </a:cxn>
              <a:cxn ang="cd4">
                <a:pos x="hc" y="b"/>
              </a:cxn>
              <a:cxn ang="0">
                <a:pos x="r" y="vc"/>
              </a:cxn>
            </a:cxnLst>
            <a:rect l="l" t="t" r="r" b="b"/>
            <a:pathLst>
              <a:path w="964" h="1587">
                <a:moveTo>
                  <a:pt x="964" y="168"/>
                </a:moveTo>
                <a:lnTo>
                  <a:pt x="553" y="0"/>
                </a:lnTo>
                <a:lnTo>
                  <a:pt x="610" y="99"/>
                </a:lnTo>
                <a:lnTo>
                  <a:pt x="444" y="99"/>
                </a:lnTo>
                <a:cubicBezTo>
                  <a:pt x="315" y="99"/>
                  <a:pt x="212" y="137"/>
                  <a:pt x="138" y="211"/>
                </a:cubicBezTo>
                <a:cubicBezTo>
                  <a:pt x="-4" y="356"/>
                  <a:pt x="0" y="603"/>
                  <a:pt x="2" y="783"/>
                </a:cubicBezTo>
                <a:cubicBezTo>
                  <a:pt x="2" y="806"/>
                  <a:pt x="3" y="828"/>
                  <a:pt x="3" y="848"/>
                </a:cubicBezTo>
                <a:cubicBezTo>
                  <a:pt x="3" y="1093"/>
                  <a:pt x="0" y="1581"/>
                  <a:pt x="0" y="1587"/>
                </a:cubicBezTo>
                <a:lnTo>
                  <a:pt x="138" y="1587"/>
                </a:lnTo>
                <a:cubicBezTo>
                  <a:pt x="138" y="1582"/>
                  <a:pt x="141" y="1094"/>
                  <a:pt x="141" y="848"/>
                </a:cubicBezTo>
                <a:cubicBezTo>
                  <a:pt x="141" y="827"/>
                  <a:pt x="140" y="805"/>
                  <a:pt x="140" y="781"/>
                </a:cubicBezTo>
                <a:cubicBezTo>
                  <a:pt x="138" y="616"/>
                  <a:pt x="134" y="412"/>
                  <a:pt x="237" y="308"/>
                </a:cubicBezTo>
                <a:cubicBezTo>
                  <a:pt x="284" y="260"/>
                  <a:pt x="352" y="237"/>
                  <a:pt x="444" y="237"/>
                </a:cubicBezTo>
                <a:lnTo>
                  <a:pt x="610" y="237"/>
                </a:lnTo>
                <a:lnTo>
                  <a:pt x="553" y="336"/>
                </a:lnTo>
                <a:close/>
              </a:path>
            </a:pathLst>
          </a:custGeom>
          <a:solidFill>
            <a:schemeClr val="accent4"/>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8" name="Freeform: Shape 2428">
            <a:extLst>
              <a:ext uri="{FF2B5EF4-FFF2-40B4-BE49-F238E27FC236}">
                <a16:creationId xmlns:a16="http://schemas.microsoft.com/office/drawing/2014/main" xmlns="" id="{86A8C706-7940-4D84-877A-D7BBF50B146B}"/>
              </a:ext>
            </a:extLst>
          </p:cNvPr>
          <p:cNvSpPr/>
          <p:nvPr/>
        </p:nvSpPr>
        <p:spPr>
          <a:xfrm>
            <a:off x="8576372" y="3455474"/>
            <a:ext cx="2109447" cy="2278992"/>
          </a:xfrm>
          <a:custGeom>
            <a:avLst/>
            <a:gdLst/>
            <a:ahLst/>
            <a:cxnLst>
              <a:cxn ang="3cd4">
                <a:pos x="hc" y="t"/>
              </a:cxn>
              <a:cxn ang="cd2">
                <a:pos x="l" y="vc"/>
              </a:cxn>
              <a:cxn ang="cd4">
                <a:pos x="hc" y="b"/>
              </a:cxn>
              <a:cxn ang="0">
                <a:pos x="r" y="vc"/>
              </a:cxn>
            </a:cxnLst>
            <a:rect l="l" t="t" r="r" b="b"/>
            <a:pathLst>
              <a:path w="1606" h="1735">
                <a:moveTo>
                  <a:pt x="1476" y="426"/>
                </a:moveTo>
                <a:cubicBezTo>
                  <a:pt x="1404" y="324"/>
                  <a:pt x="1300" y="244"/>
                  <a:pt x="1167" y="190"/>
                </a:cubicBezTo>
                <a:cubicBezTo>
                  <a:pt x="1018" y="130"/>
                  <a:pt x="826" y="99"/>
                  <a:pt x="598" y="99"/>
                </a:cubicBezTo>
                <a:lnTo>
                  <a:pt x="354" y="99"/>
                </a:lnTo>
                <a:lnTo>
                  <a:pt x="412" y="0"/>
                </a:lnTo>
                <a:lnTo>
                  <a:pt x="0" y="169"/>
                </a:lnTo>
                <a:lnTo>
                  <a:pt x="412" y="336"/>
                </a:lnTo>
                <a:lnTo>
                  <a:pt x="354" y="238"/>
                </a:lnTo>
                <a:lnTo>
                  <a:pt x="598" y="238"/>
                </a:lnTo>
                <a:cubicBezTo>
                  <a:pt x="808" y="238"/>
                  <a:pt x="982" y="265"/>
                  <a:pt x="1115" y="318"/>
                </a:cubicBezTo>
                <a:cubicBezTo>
                  <a:pt x="1225" y="363"/>
                  <a:pt x="1306" y="424"/>
                  <a:pt x="1363" y="505"/>
                </a:cubicBezTo>
                <a:cubicBezTo>
                  <a:pt x="1468" y="654"/>
                  <a:pt x="1468" y="843"/>
                  <a:pt x="1468" y="980"/>
                </a:cubicBezTo>
                <a:lnTo>
                  <a:pt x="1468" y="1735"/>
                </a:lnTo>
                <a:lnTo>
                  <a:pt x="1606" y="1735"/>
                </a:lnTo>
                <a:lnTo>
                  <a:pt x="1606" y="980"/>
                </a:lnTo>
                <a:cubicBezTo>
                  <a:pt x="1606" y="833"/>
                  <a:pt x="1606" y="611"/>
                  <a:pt x="1476" y="426"/>
                </a:cubicBez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9" name="Freeform: Shape 2429">
            <a:extLst>
              <a:ext uri="{FF2B5EF4-FFF2-40B4-BE49-F238E27FC236}">
                <a16:creationId xmlns:a16="http://schemas.microsoft.com/office/drawing/2014/main" xmlns="" id="{2010909B-64D7-46FB-8B9F-A20329FDBEB6}"/>
              </a:ext>
            </a:extLst>
          </p:cNvPr>
          <p:cNvSpPr/>
          <p:nvPr/>
        </p:nvSpPr>
        <p:spPr>
          <a:xfrm>
            <a:off x="8262251" y="4585766"/>
            <a:ext cx="851665" cy="1152639"/>
          </a:xfrm>
          <a:custGeom>
            <a:avLst/>
            <a:gdLst/>
            <a:ahLst/>
            <a:cxnLst>
              <a:cxn ang="3cd4">
                <a:pos x="hc" y="t"/>
              </a:cxn>
              <a:cxn ang="cd2">
                <a:pos x="l" y="vc"/>
              </a:cxn>
              <a:cxn ang="cd4">
                <a:pos x="hc" y="b"/>
              </a:cxn>
              <a:cxn ang="0">
                <a:pos x="r" y="vc"/>
              </a:cxn>
            </a:cxnLst>
            <a:rect l="l" t="t" r="r" b="b"/>
            <a:pathLst>
              <a:path w="649" h="878">
                <a:moveTo>
                  <a:pt x="354" y="100"/>
                </a:moveTo>
                <a:lnTo>
                  <a:pt x="412" y="0"/>
                </a:lnTo>
                <a:lnTo>
                  <a:pt x="0" y="167"/>
                </a:lnTo>
                <a:lnTo>
                  <a:pt x="411" y="336"/>
                </a:lnTo>
                <a:lnTo>
                  <a:pt x="355" y="238"/>
                </a:lnTo>
                <a:cubicBezTo>
                  <a:pt x="496" y="247"/>
                  <a:pt x="511" y="290"/>
                  <a:pt x="511" y="391"/>
                </a:cubicBezTo>
                <a:lnTo>
                  <a:pt x="511" y="878"/>
                </a:lnTo>
                <a:lnTo>
                  <a:pt x="649" y="878"/>
                </a:lnTo>
                <a:lnTo>
                  <a:pt x="649" y="391"/>
                </a:lnTo>
                <a:cubicBezTo>
                  <a:pt x="649" y="173"/>
                  <a:pt x="533" y="111"/>
                  <a:pt x="354" y="100"/>
                </a:cubicBezTo>
                <a:close/>
              </a:path>
            </a:pathLst>
          </a:custGeom>
          <a:solidFill>
            <a:schemeClr val="accent1"/>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10" name="Subtitle 2">
            <a:extLst>
              <a:ext uri="{FF2B5EF4-FFF2-40B4-BE49-F238E27FC236}">
                <a16:creationId xmlns:a16="http://schemas.microsoft.com/office/drawing/2014/main" xmlns="" id="{418B2180-9C57-4C53-8637-245628937239}"/>
              </a:ext>
            </a:extLst>
          </p:cNvPr>
          <p:cNvSpPr txBox="1">
            <a:spLocks/>
          </p:cNvSpPr>
          <p:nvPr/>
        </p:nvSpPr>
        <p:spPr>
          <a:xfrm>
            <a:off x="3057567" y="1806008"/>
            <a:ext cx="5476747" cy="46990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t understanding the problem and therefore not defining it correctly</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t asking for help (internally and externally)</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t considering all possible failure causes</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t identifying all root causes</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ot understanding how the system should operate</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Runaway tests and analysis</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dopting a “remove &amp; replace” mentality</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Returning the part/product without analysis</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Failing to follow-through</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Jumping to conclusions</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Tearing a system apart without a plan</a:t>
            </a:r>
          </a:p>
        </p:txBody>
      </p:sp>
    </p:spTree>
    <p:extLst>
      <p:ext uri="{BB962C8B-B14F-4D97-AF65-F5344CB8AC3E}">
        <p14:creationId xmlns:p14="http://schemas.microsoft.com/office/powerpoint/2010/main" val="34976922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67F03E6C-E0D4-4C1E-9775-68CF9F65DBD3}"/>
              </a:ext>
            </a:extLst>
          </p:cNvPr>
          <p:cNvSpPr>
            <a:spLocks noGrp="1"/>
          </p:cNvSpPr>
          <p:nvPr>
            <p:ph type="body" sz="quarter" idx="11"/>
          </p:nvPr>
        </p:nvSpPr>
        <p:spPr>
          <a:xfrm>
            <a:off x="1191097" y="2637864"/>
            <a:ext cx="6428903" cy="1582271"/>
          </a:xfrm>
        </p:spPr>
        <p:txBody>
          <a:bodyPr/>
          <a:lstStyle/>
          <a:p>
            <a:r>
              <a:rPr lang="en-GB" dirty="0"/>
              <a:t>Risk Management Mindset, Culture and Processes</a:t>
            </a:r>
          </a:p>
          <a:p>
            <a:endParaRPr lang="en-GB" dirty="0"/>
          </a:p>
        </p:txBody>
      </p:sp>
    </p:spTree>
    <p:extLst>
      <p:ext uri="{BB962C8B-B14F-4D97-AF65-F5344CB8AC3E}">
        <p14:creationId xmlns:p14="http://schemas.microsoft.com/office/powerpoint/2010/main" val="10604024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43364" y="668847"/>
            <a:ext cx="8852375" cy="697353"/>
          </a:xfrm>
        </p:spPr>
        <p:txBody>
          <a:bodyPr>
            <a:normAutofit/>
          </a:bodyPr>
          <a:lstStyle/>
          <a:p>
            <a:r>
              <a:rPr lang="en-GB" dirty="0"/>
              <a:t>Risk Management starts with listening to staff</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05635" y="2109655"/>
            <a:ext cx="3693640" cy="396036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nterestingly, many entrepreneurs consider their company to be well prepared for crises - but when asked if they systematically ask about risks within their organization, they have to say no.</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Yet this is the most obvious source to start with risk management.</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5" name="Freeform: Shape 36">
            <a:extLst>
              <a:ext uri="{FF2B5EF4-FFF2-40B4-BE49-F238E27FC236}">
                <a16:creationId xmlns:a16="http://schemas.microsoft.com/office/drawing/2014/main" xmlns="" id="{A6686005-32BD-4EE5-A2C8-B62D6AF25285}"/>
              </a:ext>
            </a:extLst>
          </p:cNvPr>
          <p:cNvSpPr/>
          <p:nvPr/>
        </p:nvSpPr>
        <p:spPr>
          <a:xfrm>
            <a:off x="4633288"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66" name="Freeform: Shape 37">
            <a:extLst>
              <a:ext uri="{FF2B5EF4-FFF2-40B4-BE49-F238E27FC236}">
                <a16:creationId xmlns:a16="http://schemas.microsoft.com/office/drawing/2014/main" xmlns="" id="{A97A18DC-C8A4-459A-80F7-84EBD97B9139}"/>
              </a:ext>
            </a:extLst>
          </p:cNvPr>
          <p:cNvSpPr/>
          <p:nvPr/>
        </p:nvSpPr>
        <p:spPr>
          <a:xfrm>
            <a:off x="4633288"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3" name="Freeform: Shape 38">
            <a:extLst>
              <a:ext uri="{FF2B5EF4-FFF2-40B4-BE49-F238E27FC236}">
                <a16:creationId xmlns:a16="http://schemas.microsoft.com/office/drawing/2014/main" xmlns="" id="{058A79A6-5832-4005-8E76-19841F07F8B1}"/>
              </a:ext>
            </a:extLst>
          </p:cNvPr>
          <p:cNvSpPr/>
          <p:nvPr/>
        </p:nvSpPr>
        <p:spPr>
          <a:xfrm>
            <a:off x="4633288"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4" name="Freeform: Shape 39">
            <a:extLst>
              <a:ext uri="{FF2B5EF4-FFF2-40B4-BE49-F238E27FC236}">
                <a16:creationId xmlns:a16="http://schemas.microsoft.com/office/drawing/2014/main" xmlns="" id="{C972FF56-6FC3-4377-A81A-0CA1336806E7}"/>
              </a:ext>
            </a:extLst>
          </p:cNvPr>
          <p:cNvSpPr/>
          <p:nvPr/>
        </p:nvSpPr>
        <p:spPr>
          <a:xfrm>
            <a:off x="4633288"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5" name="Freeform: Shape 40">
            <a:extLst>
              <a:ext uri="{FF2B5EF4-FFF2-40B4-BE49-F238E27FC236}">
                <a16:creationId xmlns:a16="http://schemas.microsoft.com/office/drawing/2014/main" xmlns="" id="{F993E483-6380-4DB4-98D1-99A5544E182F}"/>
              </a:ext>
            </a:extLst>
          </p:cNvPr>
          <p:cNvSpPr/>
          <p:nvPr/>
        </p:nvSpPr>
        <p:spPr>
          <a:xfrm>
            <a:off x="4633288"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6" name="Freeform: Shape 41">
            <a:extLst>
              <a:ext uri="{FF2B5EF4-FFF2-40B4-BE49-F238E27FC236}">
                <a16:creationId xmlns:a16="http://schemas.microsoft.com/office/drawing/2014/main" xmlns="" id="{3DE7576C-7454-48EC-8ECF-A05D49805145}"/>
              </a:ext>
            </a:extLst>
          </p:cNvPr>
          <p:cNvSpPr/>
          <p:nvPr/>
        </p:nvSpPr>
        <p:spPr>
          <a:xfrm>
            <a:off x="4633288"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7" name="Freeform: Shape 42">
            <a:extLst>
              <a:ext uri="{FF2B5EF4-FFF2-40B4-BE49-F238E27FC236}">
                <a16:creationId xmlns:a16="http://schemas.microsoft.com/office/drawing/2014/main" xmlns="" id="{2BD2470D-D14A-47F2-998F-9519FCD8CE0E}"/>
              </a:ext>
            </a:extLst>
          </p:cNvPr>
          <p:cNvSpPr/>
          <p:nvPr/>
        </p:nvSpPr>
        <p:spPr>
          <a:xfrm>
            <a:off x="4633288"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8" name="Freeform: Shape 43">
            <a:extLst>
              <a:ext uri="{FF2B5EF4-FFF2-40B4-BE49-F238E27FC236}">
                <a16:creationId xmlns:a16="http://schemas.microsoft.com/office/drawing/2014/main" xmlns="" id="{50CFF88E-DB40-43B1-871B-4CB88D25EF10}"/>
              </a:ext>
            </a:extLst>
          </p:cNvPr>
          <p:cNvSpPr/>
          <p:nvPr/>
        </p:nvSpPr>
        <p:spPr>
          <a:xfrm>
            <a:off x="4633288"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9" name="Freeform: Shape 44">
            <a:extLst>
              <a:ext uri="{FF2B5EF4-FFF2-40B4-BE49-F238E27FC236}">
                <a16:creationId xmlns:a16="http://schemas.microsoft.com/office/drawing/2014/main" xmlns="" id="{AA801536-DF04-419D-A238-42D30B406FD7}"/>
              </a:ext>
            </a:extLst>
          </p:cNvPr>
          <p:cNvSpPr/>
          <p:nvPr/>
        </p:nvSpPr>
        <p:spPr>
          <a:xfrm>
            <a:off x="4633288"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0" name="Freeform: Shape 45">
            <a:extLst>
              <a:ext uri="{FF2B5EF4-FFF2-40B4-BE49-F238E27FC236}">
                <a16:creationId xmlns:a16="http://schemas.microsoft.com/office/drawing/2014/main" xmlns="" id="{7D2EBF5E-7B19-4E20-8A25-97C6ABA339C7}"/>
              </a:ext>
            </a:extLst>
          </p:cNvPr>
          <p:cNvSpPr/>
          <p:nvPr/>
        </p:nvSpPr>
        <p:spPr>
          <a:xfrm>
            <a:off x="4633288"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4" name="Freeform: Shape 49">
            <a:extLst>
              <a:ext uri="{FF2B5EF4-FFF2-40B4-BE49-F238E27FC236}">
                <a16:creationId xmlns:a16="http://schemas.microsoft.com/office/drawing/2014/main" xmlns="" id="{1725C9B0-68FC-4A7A-968D-B89257A8DA94}"/>
              </a:ext>
            </a:extLst>
          </p:cNvPr>
          <p:cNvSpPr/>
          <p:nvPr/>
        </p:nvSpPr>
        <p:spPr>
          <a:xfrm>
            <a:off x="4823966"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5" name="Freeform: Shape 50">
            <a:extLst>
              <a:ext uri="{FF2B5EF4-FFF2-40B4-BE49-F238E27FC236}">
                <a16:creationId xmlns:a16="http://schemas.microsoft.com/office/drawing/2014/main" xmlns="" id="{7FEF9CFB-CFF0-479D-B198-34AB37AC6BCC}"/>
              </a:ext>
            </a:extLst>
          </p:cNvPr>
          <p:cNvSpPr/>
          <p:nvPr/>
        </p:nvSpPr>
        <p:spPr>
          <a:xfrm>
            <a:off x="4823966"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6" name="Freeform: Shape 51">
            <a:extLst>
              <a:ext uri="{FF2B5EF4-FFF2-40B4-BE49-F238E27FC236}">
                <a16:creationId xmlns:a16="http://schemas.microsoft.com/office/drawing/2014/main" xmlns="" id="{23FE9CD4-5FE6-44C7-9D46-3095B37571A5}"/>
              </a:ext>
            </a:extLst>
          </p:cNvPr>
          <p:cNvSpPr/>
          <p:nvPr/>
        </p:nvSpPr>
        <p:spPr>
          <a:xfrm>
            <a:off x="4823966"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7" name="Freeform: Shape 52">
            <a:extLst>
              <a:ext uri="{FF2B5EF4-FFF2-40B4-BE49-F238E27FC236}">
                <a16:creationId xmlns:a16="http://schemas.microsoft.com/office/drawing/2014/main" xmlns="" id="{D8C4F66D-B08C-4121-9FDB-5EEE5B68440E}"/>
              </a:ext>
            </a:extLst>
          </p:cNvPr>
          <p:cNvSpPr/>
          <p:nvPr/>
        </p:nvSpPr>
        <p:spPr>
          <a:xfrm>
            <a:off x="4823966"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8" name="Freeform: Shape 53">
            <a:extLst>
              <a:ext uri="{FF2B5EF4-FFF2-40B4-BE49-F238E27FC236}">
                <a16:creationId xmlns:a16="http://schemas.microsoft.com/office/drawing/2014/main" xmlns="" id="{6224CFD2-459D-4972-B621-02C047C96F0B}"/>
              </a:ext>
            </a:extLst>
          </p:cNvPr>
          <p:cNvSpPr/>
          <p:nvPr/>
        </p:nvSpPr>
        <p:spPr>
          <a:xfrm>
            <a:off x="4823966"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9" name="Freeform: Shape 54">
            <a:extLst>
              <a:ext uri="{FF2B5EF4-FFF2-40B4-BE49-F238E27FC236}">
                <a16:creationId xmlns:a16="http://schemas.microsoft.com/office/drawing/2014/main" xmlns="" id="{5157FD4E-AE8B-4D8F-8CE8-A6DFFCE4B64B}"/>
              </a:ext>
            </a:extLst>
          </p:cNvPr>
          <p:cNvSpPr/>
          <p:nvPr/>
        </p:nvSpPr>
        <p:spPr>
          <a:xfrm>
            <a:off x="4823966"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0" name="Freeform: Shape 55">
            <a:extLst>
              <a:ext uri="{FF2B5EF4-FFF2-40B4-BE49-F238E27FC236}">
                <a16:creationId xmlns:a16="http://schemas.microsoft.com/office/drawing/2014/main" xmlns="" id="{7B6A177F-0206-4BF6-85FE-A306AB37EC9A}"/>
              </a:ext>
            </a:extLst>
          </p:cNvPr>
          <p:cNvSpPr/>
          <p:nvPr/>
        </p:nvSpPr>
        <p:spPr>
          <a:xfrm>
            <a:off x="4823966"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1" name="Freeform: Shape 56">
            <a:extLst>
              <a:ext uri="{FF2B5EF4-FFF2-40B4-BE49-F238E27FC236}">
                <a16:creationId xmlns:a16="http://schemas.microsoft.com/office/drawing/2014/main" xmlns="" id="{8AFBF323-AC5B-4029-AA82-378CD5676115}"/>
              </a:ext>
            </a:extLst>
          </p:cNvPr>
          <p:cNvSpPr/>
          <p:nvPr/>
        </p:nvSpPr>
        <p:spPr>
          <a:xfrm>
            <a:off x="4823966"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2" name="Freeform: Shape 57">
            <a:extLst>
              <a:ext uri="{FF2B5EF4-FFF2-40B4-BE49-F238E27FC236}">
                <a16:creationId xmlns:a16="http://schemas.microsoft.com/office/drawing/2014/main" xmlns="" id="{1C3B4C15-3C84-4D0A-8726-195FBB5A6FFD}"/>
              </a:ext>
            </a:extLst>
          </p:cNvPr>
          <p:cNvSpPr/>
          <p:nvPr/>
        </p:nvSpPr>
        <p:spPr>
          <a:xfrm>
            <a:off x="4823966"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3" name="Freeform: Shape 58">
            <a:extLst>
              <a:ext uri="{FF2B5EF4-FFF2-40B4-BE49-F238E27FC236}">
                <a16:creationId xmlns:a16="http://schemas.microsoft.com/office/drawing/2014/main" xmlns="" id="{66BE94BB-E041-4EC0-87E0-72185B837995}"/>
              </a:ext>
            </a:extLst>
          </p:cNvPr>
          <p:cNvSpPr/>
          <p:nvPr/>
        </p:nvSpPr>
        <p:spPr>
          <a:xfrm>
            <a:off x="4823966"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7" name="Freeform: Shape 62">
            <a:extLst>
              <a:ext uri="{FF2B5EF4-FFF2-40B4-BE49-F238E27FC236}">
                <a16:creationId xmlns:a16="http://schemas.microsoft.com/office/drawing/2014/main" xmlns="" id="{86A07131-D69D-4C64-905A-061E5DD122A5}"/>
              </a:ext>
            </a:extLst>
          </p:cNvPr>
          <p:cNvSpPr/>
          <p:nvPr/>
        </p:nvSpPr>
        <p:spPr>
          <a:xfrm>
            <a:off x="5011110"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8" name="Freeform: Shape 63">
            <a:extLst>
              <a:ext uri="{FF2B5EF4-FFF2-40B4-BE49-F238E27FC236}">
                <a16:creationId xmlns:a16="http://schemas.microsoft.com/office/drawing/2014/main" xmlns="" id="{CDD21113-755C-4020-890B-569FEF7D9332}"/>
              </a:ext>
            </a:extLst>
          </p:cNvPr>
          <p:cNvSpPr/>
          <p:nvPr/>
        </p:nvSpPr>
        <p:spPr>
          <a:xfrm>
            <a:off x="5011110"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9" name="Freeform: Shape 64">
            <a:extLst>
              <a:ext uri="{FF2B5EF4-FFF2-40B4-BE49-F238E27FC236}">
                <a16:creationId xmlns:a16="http://schemas.microsoft.com/office/drawing/2014/main" xmlns="" id="{E96D2D41-3FB1-4481-AA96-46A08F872413}"/>
              </a:ext>
            </a:extLst>
          </p:cNvPr>
          <p:cNvSpPr/>
          <p:nvPr/>
        </p:nvSpPr>
        <p:spPr>
          <a:xfrm>
            <a:off x="5011110"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0" name="Freeform: Shape 65">
            <a:extLst>
              <a:ext uri="{FF2B5EF4-FFF2-40B4-BE49-F238E27FC236}">
                <a16:creationId xmlns:a16="http://schemas.microsoft.com/office/drawing/2014/main" xmlns="" id="{397B11D4-6032-4F12-8832-E659D5CB04B7}"/>
              </a:ext>
            </a:extLst>
          </p:cNvPr>
          <p:cNvSpPr/>
          <p:nvPr/>
        </p:nvSpPr>
        <p:spPr>
          <a:xfrm>
            <a:off x="5011110"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1" name="Freeform: Shape 66">
            <a:extLst>
              <a:ext uri="{FF2B5EF4-FFF2-40B4-BE49-F238E27FC236}">
                <a16:creationId xmlns:a16="http://schemas.microsoft.com/office/drawing/2014/main" xmlns="" id="{B41E5362-1C5E-4DD1-96F4-236F9DCEB05B}"/>
              </a:ext>
            </a:extLst>
          </p:cNvPr>
          <p:cNvSpPr/>
          <p:nvPr/>
        </p:nvSpPr>
        <p:spPr>
          <a:xfrm>
            <a:off x="5011110"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2" name="Freeform: Shape 67">
            <a:extLst>
              <a:ext uri="{FF2B5EF4-FFF2-40B4-BE49-F238E27FC236}">
                <a16:creationId xmlns:a16="http://schemas.microsoft.com/office/drawing/2014/main" xmlns="" id="{FE352878-9B45-465D-9425-02BB06B6D739}"/>
              </a:ext>
            </a:extLst>
          </p:cNvPr>
          <p:cNvSpPr/>
          <p:nvPr/>
        </p:nvSpPr>
        <p:spPr>
          <a:xfrm>
            <a:off x="5011110"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3" name="Freeform: Shape 68">
            <a:extLst>
              <a:ext uri="{FF2B5EF4-FFF2-40B4-BE49-F238E27FC236}">
                <a16:creationId xmlns:a16="http://schemas.microsoft.com/office/drawing/2014/main" xmlns="" id="{2E43D999-8A91-4C91-8493-0A300F2317E2}"/>
              </a:ext>
            </a:extLst>
          </p:cNvPr>
          <p:cNvSpPr/>
          <p:nvPr/>
        </p:nvSpPr>
        <p:spPr>
          <a:xfrm>
            <a:off x="5011110"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4" name="Freeform: Shape 69">
            <a:extLst>
              <a:ext uri="{FF2B5EF4-FFF2-40B4-BE49-F238E27FC236}">
                <a16:creationId xmlns:a16="http://schemas.microsoft.com/office/drawing/2014/main" xmlns="" id="{BB05FD79-271C-4369-BAE3-A34602A6C432}"/>
              </a:ext>
            </a:extLst>
          </p:cNvPr>
          <p:cNvSpPr/>
          <p:nvPr/>
        </p:nvSpPr>
        <p:spPr>
          <a:xfrm>
            <a:off x="5011110"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5" name="Freeform: Shape 70">
            <a:extLst>
              <a:ext uri="{FF2B5EF4-FFF2-40B4-BE49-F238E27FC236}">
                <a16:creationId xmlns:a16="http://schemas.microsoft.com/office/drawing/2014/main" xmlns="" id="{ECF5C551-545F-4344-B213-B39AC314EC62}"/>
              </a:ext>
            </a:extLst>
          </p:cNvPr>
          <p:cNvSpPr/>
          <p:nvPr/>
        </p:nvSpPr>
        <p:spPr>
          <a:xfrm>
            <a:off x="5011110"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6" name="Freeform: Shape 71">
            <a:extLst>
              <a:ext uri="{FF2B5EF4-FFF2-40B4-BE49-F238E27FC236}">
                <a16:creationId xmlns:a16="http://schemas.microsoft.com/office/drawing/2014/main" xmlns="" id="{9E926AF1-643A-4E21-9272-6ABAD5C69DD0}"/>
              </a:ext>
            </a:extLst>
          </p:cNvPr>
          <p:cNvSpPr/>
          <p:nvPr/>
        </p:nvSpPr>
        <p:spPr>
          <a:xfrm>
            <a:off x="5011110"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0" name="Freeform: Shape 75">
            <a:extLst>
              <a:ext uri="{FF2B5EF4-FFF2-40B4-BE49-F238E27FC236}">
                <a16:creationId xmlns:a16="http://schemas.microsoft.com/office/drawing/2014/main" xmlns="" id="{C57E2ABE-A4C6-4C41-AEBB-01B352C43AA2}"/>
              </a:ext>
            </a:extLst>
          </p:cNvPr>
          <p:cNvSpPr/>
          <p:nvPr/>
        </p:nvSpPr>
        <p:spPr>
          <a:xfrm>
            <a:off x="5397166"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1" name="Freeform: Shape 76">
            <a:extLst>
              <a:ext uri="{FF2B5EF4-FFF2-40B4-BE49-F238E27FC236}">
                <a16:creationId xmlns:a16="http://schemas.microsoft.com/office/drawing/2014/main" xmlns="" id="{8A5B6264-C07E-49D7-905D-E98F3B00A714}"/>
              </a:ext>
            </a:extLst>
          </p:cNvPr>
          <p:cNvSpPr/>
          <p:nvPr/>
        </p:nvSpPr>
        <p:spPr>
          <a:xfrm>
            <a:off x="5397166"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2" name="Freeform: Shape 77">
            <a:extLst>
              <a:ext uri="{FF2B5EF4-FFF2-40B4-BE49-F238E27FC236}">
                <a16:creationId xmlns:a16="http://schemas.microsoft.com/office/drawing/2014/main" xmlns="" id="{9466B35D-1691-4482-9C14-ECA640977F78}"/>
              </a:ext>
            </a:extLst>
          </p:cNvPr>
          <p:cNvSpPr/>
          <p:nvPr/>
        </p:nvSpPr>
        <p:spPr>
          <a:xfrm>
            <a:off x="5397166"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3" name="Freeform: Shape 78">
            <a:extLst>
              <a:ext uri="{FF2B5EF4-FFF2-40B4-BE49-F238E27FC236}">
                <a16:creationId xmlns:a16="http://schemas.microsoft.com/office/drawing/2014/main" xmlns="" id="{226864E2-55A5-49FE-817F-BFF040531C77}"/>
              </a:ext>
            </a:extLst>
          </p:cNvPr>
          <p:cNvSpPr/>
          <p:nvPr/>
        </p:nvSpPr>
        <p:spPr>
          <a:xfrm>
            <a:off x="5397166"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4" name="Freeform: Shape 79">
            <a:extLst>
              <a:ext uri="{FF2B5EF4-FFF2-40B4-BE49-F238E27FC236}">
                <a16:creationId xmlns:a16="http://schemas.microsoft.com/office/drawing/2014/main" xmlns="" id="{90E5CCDB-CC0B-4F11-A2C1-B6169ED3D369}"/>
              </a:ext>
            </a:extLst>
          </p:cNvPr>
          <p:cNvSpPr/>
          <p:nvPr/>
        </p:nvSpPr>
        <p:spPr>
          <a:xfrm>
            <a:off x="5397166"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5" name="Freeform: Shape 80">
            <a:extLst>
              <a:ext uri="{FF2B5EF4-FFF2-40B4-BE49-F238E27FC236}">
                <a16:creationId xmlns:a16="http://schemas.microsoft.com/office/drawing/2014/main" xmlns="" id="{602CE098-88F4-4F23-B972-ABDD2FAAF490}"/>
              </a:ext>
            </a:extLst>
          </p:cNvPr>
          <p:cNvSpPr/>
          <p:nvPr/>
        </p:nvSpPr>
        <p:spPr>
          <a:xfrm>
            <a:off x="5397166"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6" name="Freeform: Shape 81">
            <a:extLst>
              <a:ext uri="{FF2B5EF4-FFF2-40B4-BE49-F238E27FC236}">
                <a16:creationId xmlns:a16="http://schemas.microsoft.com/office/drawing/2014/main" xmlns="" id="{485F0932-841A-4229-A82F-07BA2856B398}"/>
              </a:ext>
            </a:extLst>
          </p:cNvPr>
          <p:cNvSpPr/>
          <p:nvPr/>
        </p:nvSpPr>
        <p:spPr>
          <a:xfrm>
            <a:off x="5397166"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7" name="Freeform: Shape 82">
            <a:extLst>
              <a:ext uri="{FF2B5EF4-FFF2-40B4-BE49-F238E27FC236}">
                <a16:creationId xmlns:a16="http://schemas.microsoft.com/office/drawing/2014/main" xmlns="" id="{4341BC9F-DAA6-4418-A8DE-D958EDF6425D}"/>
              </a:ext>
            </a:extLst>
          </p:cNvPr>
          <p:cNvSpPr/>
          <p:nvPr/>
        </p:nvSpPr>
        <p:spPr>
          <a:xfrm>
            <a:off x="5397166"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8" name="Freeform: Shape 83">
            <a:extLst>
              <a:ext uri="{FF2B5EF4-FFF2-40B4-BE49-F238E27FC236}">
                <a16:creationId xmlns:a16="http://schemas.microsoft.com/office/drawing/2014/main" xmlns="" id="{C81D08AD-87C1-4589-8224-69E02314F6FA}"/>
              </a:ext>
            </a:extLst>
          </p:cNvPr>
          <p:cNvSpPr/>
          <p:nvPr/>
        </p:nvSpPr>
        <p:spPr>
          <a:xfrm>
            <a:off x="5397166"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9" name="Freeform: Shape 84">
            <a:extLst>
              <a:ext uri="{FF2B5EF4-FFF2-40B4-BE49-F238E27FC236}">
                <a16:creationId xmlns:a16="http://schemas.microsoft.com/office/drawing/2014/main" xmlns="" id="{6C711512-B933-4AE7-9B35-8896B14640CD}"/>
              </a:ext>
            </a:extLst>
          </p:cNvPr>
          <p:cNvSpPr/>
          <p:nvPr/>
        </p:nvSpPr>
        <p:spPr>
          <a:xfrm>
            <a:off x="5397166"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3" name="Freeform: Shape 88">
            <a:extLst>
              <a:ext uri="{FF2B5EF4-FFF2-40B4-BE49-F238E27FC236}">
                <a16:creationId xmlns:a16="http://schemas.microsoft.com/office/drawing/2014/main" xmlns="" id="{57910B51-762D-426E-A4A1-FC2B125A922B}"/>
              </a:ext>
            </a:extLst>
          </p:cNvPr>
          <p:cNvSpPr/>
          <p:nvPr/>
        </p:nvSpPr>
        <p:spPr>
          <a:xfrm>
            <a:off x="5587841"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4" name="Freeform: Shape 89">
            <a:extLst>
              <a:ext uri="{FF2B5EF4-FFF2-40B4-BE49-F238E27FC236}">
                <a16:creationId xmlns:a16="http://schemas.microsoft.com/office/drawing/2014/main" xmlns="" id="{169F2E8A-0A64-4A59-A12D-BF537F8EC4BA}"/>
              </a:ext>
            </a:extLst>
          </p:cNvPr>
          <p:cNvSpPr/>
          <p:nvPr/>
        </p:nvSpPr>
        <p:spPr>
          <a:xfrm>
            <a:off x="5587841"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5" name="Freeform: Shape 90">
            <a:extLst>
              <a:ext uri="{FF2B5EF4-FFF2-40B4-BE49-F238E27FC236}">
                <a16:creationId xmlns:a16="http://schemas.microsoft.com/office/drawing/2014/main" xmlns="" id="{683DF826-18DE-4BFD-B371-F964BD45F105}"/>
              </a:ext>
            </a:extLst>
          </p:cNvPr>
          <p:cNvSpPr/>
          <p:nvPr/>
        </p:nvSpPr>
        <p:spPr>
          <a:xfrm>
            <a:off x="5587841"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6" name="Freeform: Shape 91">
            <a:extLst>
              <a:ext uri="{FF2B5EF4-FFF2-40B4-BE49-F238E27FC236}">
                <a16:creationId xmlns:a16="http://schemas.microsoft.com/office/drawing/2014/main" xmlns="" id="{0BC11988-8F00-4E3F-A78A-04CEA3FDD334}"/>
              </a:ext>
            </a:extLst>
          </p:cNvPr>
          <p:cNvSpPr/>
          <p:nvPr/>
        </p:nvSpPr>
        <p:spPr>
          <a:xfrm>
            <a:off x="5587841"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7" name="Freeform: Shape 92">
            <a:extLst>
              <a:ext uri="{FF2B5EF4-FFF2-40B4-BE49-F238E27FC236}">
                <a16:creationId xmlns:a16="http://schemas.microsoft.com/office/drawing/2014/main" xmlns="" id="{AEDC1C06-605B-4D25-92FE-57CAB7A21C8C}"/>
              </a:ext>
            </a:extLst>
          </p:cNvPr>
          <p:cNvSpPr/>
          <p:nvPr/>
        </p:nvSpPr>
        <p:spPr>
          <a:xfrm>
            <a:off x="5587841"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8" name="Freeform: Shape 93">
            <a:extLst>
              <a:ext uri="{FF2B5EF4-FFF2-40B4-BE49-F238E27FC236}">
                <a16:creationId xmlns:a16="http://schemas.microsoft.com/office/drawing/2014/main" xmlns="" id="{BF13CDCA-A5EC-45D6-A79F-B6962BE1D0F2}"/>
              </a:ext>
            </a:extLst>
          </p:cNvPr>
          <p:cNvSpPr/>
          <p:nvPr/>
        </p:nvSpPr>
        <p:spPr>
          <a:xfrm>
            <a:off x="5587841"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9" name="Freeform: Shape 94">
            <a:extLst>
              <a:ext uri="{FF2B5EF4-FFF2-40B4-BE49-F238E27FC236}">
                <a16:creationId xmlns:a16="http://schemas.microsoft.com/office/drawing/2014/main" xmlns="" id="{65853580-B22C-409D-B919-4F0E7811A431}"/>
              </a:ext>
            </a:extLst>
          </p:cNvPr>
          <p:cNvSpPr/>
          <p:nvPr/>
        </p:nvSpPr>
        <p:spPr>
          <a:xfrm>
            <a:off x="5587841"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0" name="Freeform: Shape 95">
            <a:extLst>
              <a:ext uri="{FF2B5EF4-FFF2-40B4-BE49-F238E27FC236}">
                <a16:creationId xmlns:a16="http://schemas.microsoft.com/office/drawing/2014/main" xmlns="" id="{2D01A7A0-0271-47F1-9EA6-EA3217889270}"/>
              </a:ext>
            </a:extLst>
          </p:cNvPr>
          <p:cNvSpPr/>
          <p:nvPr/>
        </p:nvSpPr>
        <p:spPr>
          <a:xfrm>
            <a:off x="5587841"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1" name="Freeform: Shape 96">
            <a:extLst>
              <a:ext uri="{FF2B5EF4-FFF2-40B4-BE49-F238E27FC236}">
                <a16:creationId xmlns:a16="http://schemas.microsoft.com/office/drawing/2014/main" xmlns="" id="{6EA8A7F1-7CF1-4565-B559-EC3226048D55}"/>
              </a:ext>
            </a:extLst>
          </p:cNvPr>
          <p:cNvSpPr/>
          <p:nvPr/>
        </p:nvSpPr>
        <p:spPr>
          <a:xfrm>
            <a:off x="5587841"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2" name="Freeform: Shape 97">
            <a:extLst>
              <a:ext uri="{FF2B5EF4-FFF2-40B4-BE49-F238E27FC236}">
                <a16:creationId xmlns:a16="http://schemas.microsoft.com/office/drawing/2014/main" xmlns="" id="{A1A20854-6159-40D5-BDB4-D3F6A9B719A6}"/>
              </a:ext>
            </a:extLst>
          </p:cNvPr>
          <p:cNvSpPr/>
          <p:nvPr/>
        </p:nvSpPr>
        <p:spPr>
          <a:xfrm>
            <a:off x="5587841"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6" name="Freeform: Shape 101">
            <a:extLst>
              <a:ext uri="{FF2B5EF4-FFF2-40B4-BE49-F238E27FC236}">
                <a16:creationId xmlns:a16="http://schemas.microsoft.com/office/drawing/2014/main" xmlns="" id="{9672372C-53D6-4950-9FF7-C65D1F084518}"/>
              </a:ext>
            </a:extLst>
          </p:cNvPr>
          <p:cNvSpPr/>
          <p:nvPr/>
        </p:nvSpPr>
        <p:spPr>
          <a:xfrm>
            <a:off x="5778514"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7" name="Freeform: Shape 102">
            <a:extLst>
              <a:ext uri="{FF2B5EF4-FFF2-40B4-BE49-F238E27FC236}">
                <a16:creationId xmlns:a16="http://schemas.microsoft.com/office/drawing/2014/main" xmlns="" id="{1CF63059-AC70-4A9A-A6B4-CE811179DE4C}"/>
              </a:ext>
            </a:extLst>
          </p:cNvPr>
          <p:cNvSpPr/>
          <p:nvPr/>
        </p:nvSpPr>
        <p:spPr>
          <a:xfrm>
            <a:off x="5778514"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8" name="Freeform: Shape 103">
            <a:extLst>
              <a:ext uri="{FF2B5EF4-FFF2-40B4-BE49-F238E27FC236}">
                <a16:creationId xmlns:a16="http://schemas.microsoft.com/office/drawing/2014/main" xmlns="" id="{AFB63C5D-AE6E-4CA8-8A7C-12A0BC01BA8E}"/>
              </a:ext>
            </a:extLst>
          </p:cNvPr>
          <p:cNvSpPr/>
          <p:nvPr/>
        </p:nvSpPr>
        <p:spPr>
          <a:xfrm>
            <a:off x="5778514"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9" name="Freeform: Shape 104">
            <a:extLst>
              <a:ext uri="{FF2B5EF4-FFF2-40B4-BE49-F238E27FC236}">
                <a16:creationId xmlns:a16="http://schemas.microsoft.com/office/drawing/2014/main" xmlns="" id="{7FC86917-94D6-4D1B-8ED0-C86DCB616729}"/>
              </a:ext>
            </a:extLst>
          </p:cNvPr>
          <p:cNvSpPr/>
          <p:nvPr/>
        </p:nvSpPr>
        <p:spPr>
          <a:xfrm>
            <a:off x="5778514"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0" name="Freeform: Shape 105">
            <a:extLst>
              <a:ext uri="{FF2B5EF4-FFF2-40B4-BE49-F238E27FC236}">
                <a16:creationId xmlns:a16="http://schemas.microsoft.com/office/drawing/2014/main" xmlns="" id="{B6FFA3BB-6BCC-4389-A570-A492DFD311CC}"/>
              </a:ext>
            </a:extLst>
          </p:cNvPr>
          <p:cNvSpPr/>
          <p:nvPr/>
        </p:nvSpPr>
        <p:spPr>
          <a:xfrm>
            <a:off x="5778514"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1" name="Freeform: Shape 106">
            <a:extLst>
              <a:ext uri="{FF2B5EF4-FFF2-40B4-BE49-F238E27FC236}">
                <a16:creationId xmlns:a16="http://schemas.microsoft.com/office/drawing/2014/main" xmlns="" id="{4DDF973F-653F-4B9C-AD25-8A15134B455C}"/>
              </a:ext>
            </a:extLst>
          </p:cNvPr>
          <p:cNvSpPr/>
          <p:nvPr/>
        </p:nvSpPr>
        <p:spPr>
          <a:xfrm>
            <a:off x="5778514"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2" name="Freeform: Shape 107">
            <a:extLst>
              <a:ext uri="{FF2B5EF4-FFF2-40B4-BE49-F238E27FC236}">
                <a16:creationId xmlns:a16="http://schemas.microsoft.com/office/drawing/2014/main" xmlns="" id="{6330DBE3-780B-4F83-974C-652C7A37EABC}"/>
              </a:ext>
            </a:extLst>
          </p:cNvPr>
          <p:cNvSpPr/>
          <p:nvPr/>
        </p:nvSpPr>
        <p:spPr>
          <a:xfrm>
            <a:off x="5778514"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3" name="Freeform: Shape 108">
            <a:extLst>
              <a:ext uri="{FF2B5EF4-FFF2-40B4-BE49-F238E27FC236}">
                <a16:creationId xmlns:a16="http://schemas.microsoft.com/office/drawing/2014/main" xmlns="" id="{6F68DA83-7DF9-48F4-BC24-8A20BD451982}"/>
              </a:ext>
            </a:extLst>
          </p:cNvPr>
          <p:cNvSpPr/>
          <p:nvPr/>
        </p:nvSpPr>
        <p:spPr>
          <a:xfrm>
            <a:off x="5778514"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4" name="Freeform: Shape 109">
            <a:extLst>
              <a:ext uri="{FF2B5EF4-FFF2-40B4-BE49-F238E27FC236}">
                <a16:creationId xmlns:a16="http://schemas.microsoft.com/office/drawing/2014/main" xmlns="" id="{5B7DB688-C9B5-4CE7-AE2F-71C2A580EACE}"/>
              </a:ext>
            </a:extLst>
          </p:cNvPr>
          <p:cNvSpPr/>
          <p:nvPr/>
        </p:nvSpPr>
        <p:spPr>
          <a:xfrm>
            <a:off x="5778514"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5" name="Freeform: Shape 110">
            <a:extLst>
              <a:ext uri="{FF2B5EF4-FFF2-40B4-BE49-F238E27FC236}">
                <a16:creationId xmlns:a16="http://schemas.microsoft.com/office/drawing/2014/main" xmlns="" id="{BAA61459-4C67-4B61-B117-516250400395}"/>
              </a:ext>
            </a:extLst>
          </p:cNvPr>
          <p:cNvSpPr/>
          <p:nvPr/>
        </p:nvSpPr>
        <p:spPr>
          <a:xfrm>
            <a:off x="5778514"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9" name="Freeform: Shape 36">
            <a:extLst>
              <a:ext uri="{FF2B5EF4-FFF2-40B4-BE49-F238E27FC236}">
                <a16:creationId xmlns:a16="http://schemas.microsoft.com/office/drawing/2014/main" xmlns="" id="{D4392A0A-1E0C-4693-B2BD-DBCDE7AF3078}"/>
              </a:ext>
            </a:extLst>
          </p:cNvPr>
          <p:cNvSpPr/>
          <p:nvPr/>
        </p:nvSpPr>
        <p:spPr>
          <a:xfrm>
            <a:off x="8368963"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0" name="Freeform: Shape 37">
            <a:extLst>
              <a:ext uri="{FF2B5EF4-FFF2-40B4-BE49-F238E27FC236}">
                <a16:creationId xmlns:a16="http://schemas.microsoft.com/office/drawing/2014/main" xmlns="" id="{3C187F84-D9BA-4E8C-95F7-0957546A7D83}"/>
              </a:ext>
            </a:extLst>
          </p:cNvPr>
          <p:cNvSpPr/>
          <p:nvPr/>
        </p:nvSpPr>
        <p:spPr>
          <a:xfrm>
            <a:off x="8368963"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1" name="Freeform: Shape 38">
            <a:extLst>
              <a:ext uri="{FF2B5EF4-FFF2-40B4-BE49-F238E27FC236}">
                <a16:creationId xmlns:a16="http://schemas.microsoft.com/office/drawing/2014/main" xmlns="" id="{8F341BCC-3597-4C61-890F-7E1F91FA0454}"/>
              </a:ext>
            </a:extLst>
          </p:cNvPr>
          <p:cNvSpPr/>
          <p:nvPr/>
        </p:nvSpPr>
        <p:spPr>
          <a:xfrm>
            <a:off x="8368963"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2" name="Freeform: Shape 39">
            <a:extLst>
              <a:ext uri="{FF2B5EF4-FFF2-40B4-BE49-F238E27FC236}">
                <a16:creationId xmlns:a16="http://schemas.microsoft.com/office/drawing/2014/main" xmlns="" id="{018B5721-E545-4887-9E00-27DAAA51A5C1}"/>
              </a:ext>
            </a:extLst>
          </p:cNvPr>
          <p:cNvSpPr/>
          <p:nvPr/>
        </p:nvSpPr>
        <p:spPr>
          <a:xfrm>
            <a:off x="8368963"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3" name="Freeform: Shape 40">
            <a:extLst>
              <a:ext uri="{FF2B5EF4-FFF2-40B4-BE49-F238E27FC236}">
                <a16:creationId xmlns:a16="http://schemas.microsoft.com/office/drawing/2014/main" xmlns="" id="{BEDC8F5A-B1A4-4CBC-B65E-B58F47E352EE}"/>
              </a:ext>
            </a:extLst>
          </p:cNvPr>
          <p:cNvSpPr/>
          <p:nvPr/>
        </p:nvSpPr>
        <p:spPr>
          <a:xfrm>
            <a:off x="8368963"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4" name="Freeform: Shape 41">
            <a:extLst>
              <a:ext uri="{FF2B5EF4-FFF2-40B4-BE49-F238E27FC236}">
                <a16:creationId xmlns:a16="http://schemas.microsoft.com/office/drawing/2014/main" xmlns="" id="{0B102CE6-B6FA-43C0-B2ED-82ECEE751002}"/>
              </a:ext>
            </a:extLst>
          </p:cNvPr>
          <p:cNvSpPr/>
          <p:nvPr/>
        </p:nvSpPr>
        <p:spPr>
          <a:xfrm>
            <a:off x="8368963"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5" name="Freeform: Shape 42">
            <a:extLst>
              <a:ext uri="{FF2B5EF4-FFF2-40B4-BE49-F238E27FC236}">
                <a16:creationId xmlns:a16="http://schemas.microsoft.com/office/drawing/2014/main" xmlns="" id="{3CCBCDCD-0997-49E0-8242-EB10FBC56CA3}"/>
              </a:ext>
            </a:extLst>
          </p:cNvPr>
          <p:cNvSpPr/>
          <p:nvPr/>
        </p:nvSpPr>
        <p:spPr>
          <a:xfrm>
            <a:off x="8368963"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6" name="Freeform: Shape 43">
            <a:extLst>
              <a:ext uri="{FF2B5EF4-FFF2-40B4-BE49-F238E27FC236}">
                <a16:creationId xmlns:a16="http://schemas.microsoft.com/office/drawing/2014/main" xmlns="" id="{DC768C9C-2276-441E-963B-C73604600F69}"/>
              </a:ext>
            </a:extLst>
          </p:cNvPr>
          <p:cNvSpPr/>
          <p:nvPr/>
        </p:nvSpPr>
        <p:spPr>
          <a:xfrm>
            <a:off x="8368963"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7" name="Freeform: Shape 44">
            <a:extLst>
              <a:ext uri="{FF2B5EF4-FFF2-40B4-BE49-F238E27FC236}">
                <a16:creationId xmlns:a16="http://schemas.microsoft.com/office/drawing/2014/main" xmlns="" id="{9083B361-B77B-4622-B635-556ABE5B1794}"/>
              </a:ext>
            </a:extLst>
          </p:cNvPr>
          <p:cNvSpPr/>
          <p:nvPr/>
        </p:nvSpPr>
        <p:spPr>
          <a:xfrm>
            <a:off x="8368963"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8" name="Freeform: Shape 45">
            <a:extLst>
              <a:ext uri="{FF2B5EF4-FFF2-40B4-BE49-F238E27FC236}">
                <a16:creationId xmlns:a16="http://schemas.microsoft.com/office/drawing/2014/main" xmlns="" id="{E14D6459-2229-49DD-AACC-AA6FA0C909DE}"/>
              </a:ext>
            </a:extLst>
          </p:cNvPr>
          <p:cNvSpPr/>
          <p:nvPr/>
        </p:nvSpPr>
        <p:spPr>
          <a:xfrm>
            <a:off x="8368963"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2" name="Freeform: Shape 49">
            <a:extLst>
              <a:ext uri="{FF2B5EF4-FFF2-40B4-BE49-F238E27FC236}">
                <a16:creationId xmlns:a16="http://schemas.microsoft.com/office/drawing/2014/main" xmlns="" id="{E3ED2D24-2D78-4BAF-88F8-868711629158}"/>
              </a:ext>
            </a:extLst>
          </p:cNvPr>
          <p:cNvSpPr/>
          <p:nvPr/>
        </p:nvSpPr>
        <p:spPr>
          <a:xfrm>
            <a:off x="8559641"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3" name="Freeform: Shape 50">
            <a:extLst>
              <a:ext uri="{FF2B5EF4-FFF2-40B4-BE49-F238E27FC236}">
                <a16:creationId xmlns:a16="http://schemas.microsoft.com/office/drawing/2014/main" xmlns="" id="{2997E735-60B7-497A-8B80-983EDA1AE72E}"/>
              </a:ext>
            </a:extLst>
          </p:cNvPr>
          <p:cNvSpPr/>
          <p:nvPr/>
        </p:nvSpPr>
        <p:spPr>
          <a:xfrm>
            <a:off x="8559641"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4" name="Freeform: Shape 51">
            <a:extLst>
              <a:ext uri="{FF2B5EF4-FFF2-40B4-BE49-F238E27FC236}">
                <a16:creationId xmlns:a16="http://schemas.microsoft.com/office/drawing/2014/main" xmlns="" id="{7F6F9542-B2F2-4210-B1C5-76AEC02524AF}"/>
              </a:ext>
            </a:extLst>
          </p:cNvPr>
          <p:cNvSpPr/>
          <p:nvPr/>
        </p:nvSpPr>
        <p:spPr>
          <a:xfrm>
            <a:off x="8559641"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5" name="Freeform: Shape 52">
            <a:extLst>
              <a:ext uri="{FF2B5EF4-FFF2-40B4-BE49-F238E27FC236}">
                <a16:creationId xmlns:a16="http://schemas.microsoft.com/office/drawing/2014/main" xmlns="" id="{DEE996D9-8808-47B5-A999-EC94207E9886}"/>
              </a:ext>
            </a:extLst>
          </p:cNvPr>
          <p:cNvSpPr/>
          <p:nvPr/>
        </p:nvSpPr>
        <p:spPr>
          <a:xfrm>
            <a:off x="8559641"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6" name="Freeform: Shape 53">
            <a:extLst>
              <a:ext uri="{FF2B5EF4-FFF2-40B4-BE49-F238E27FC236}">
                <a16:creationId xmlns:a16="http://schemas.microsoft.com/office/drawing/2014/main" xmlns="" id="{398126C2-092F-4871-B9D4-FB4521CAB541}"/>
              </a:ext>
            </a:extLst>
          </p:cNvPr>
          <p:cNvSpPr/>
          <p:nvPr/>
        </p:nvSpPr>
        <p:spPr>
          <a:xfrm>
            <a:off x="8559641"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7" name="Freeform: Shape 54">
            <a:extLst>
              <a:ext uri="{FF2B5EF4-FFF2-40B4-BE49-F238E27FC236}">
                <a16:creationId xmlns:a16="http://schemas.microsoft.com/office/drawing/2014/main" xmlns="" id="{51593B76-52D3-4CB6-8CAA-CD30788EA9E0}"/>
              </a:ext>
            </a:extLst>
          </p:cNvPr>
          <p:cNvSpPr/>
          <p:nvPr/>
        </p:nvSpPr>
        <p:spPr>
          <a:xfrm>
            <a:off x="8559641"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8" name="Freeform: Shape 55">
            <a:extLst>
              <a:ext uri="{FF2B5EF4-FFF2-40B4-BE49-F238E27FC236}">
                <a16:creationId xmlns:a16="http://schemas.microsoft.com/office/drawing/2014/main" xmlns="" id="{FC389592-509E-47D0-A3CE-541C22780B2B}"/>
              </a:ext>
            </a:extLst>
          </p:cNvPr>
          <p:cNvSpPr/>
          <p:nvPr/>
        </p:nvSpPr>
        <p:spPr>
          <a:xfrm>
            <a:off x="8559641"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9" name="Freeform: Shape 56">
            <a:extLst>
              <a:ext uri="{FF2B5EF4-FFF2-40B4-BE49-F238E27FC236}">
                <a16:creationId xmlns:a16="http://schemas.microsoft.com/office/drawing/2014/main" xmlns="" id="{9783EABF-B0E8-49C0-BC84-6C899035F56F}"/>
              </a:ext>
            </a:extLst>
          </p:cNvPr>
          <p:cNvSpPr/>
          <p:nvPr/>
        </p:nvSpPr>
        <p:spPr>
          <a:xfrm>
            <a:off x="8559641"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0" name="Freeform: Shape 57">
            <a:extLst>
              <a:ext uri="{FF2B5EF4-FFF2-40B4-BE49-F238E27FC236}">
                <a16:creationId xmlns:a16="http://schemas.microsoft.com/office/drawing/2014/main" xmlns="" id="{B9B58878-B4B6-4AD7-BCFE-C3707342744B}"/>
              </a:ext>
            </a:extLst>
          </p:cNvPr>
          <p:cNvSpPr/>
          <p:nvPr/>
        </p:nvSpPr>
        <p:spPr>
          <a:xfrm>
            <a:off x="8559641"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1" name="Freeform: Shape 58">
            <a:extLst>
              <a:ext uri="{FF2B5EF4-FFF2-40B4-BE49-F238E27FC236}">
                <a16:creationId xmlns:a16="http://schemas.microsoft.com/office/drawing/2014/main" xmlns="" id="{BFAB91FB-6F02-4A24-A281-9D68178F7074}"/>
              </a:ext>
            </a:extLst>
          </p:cNvPr>
          <p:cNvSpPr/>
          <p:nvPr/>
        </p:nvSpPr>
        <p:spPr>
          <a:xfrm>
            <a:off x="8559641"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5" name="Freeform: Shape 62">
            <a:extLst>
              <a:ext uri="{FF2B5EF4-FFF2-40B4-BE49-F238E27FC236}">
                <a16:creationId xmlns:a16="http://schemas.microsoft.com/office/drawing/2014/main" xmlns="" id="{7B6E84EA-695B-44F5-BD18-E36B63F8756A}"/>
              </a:ext>
            </a:extLst>
          </p:cNvPr>
          <p:cNvSpPr/>
          <p:nvPr/>
        </p:nvSpPr>
        <p:spPr>
          <a:xfrm>
            <a:off x="8746785"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6" name="Freeform: Shape 63">
            <a:extLst>
              <a:ext uri="{FF2B5EF4-FFF2-40B4-BE49-F238E27FC236}">
                <a16:creationId xmlns:a16="http://schemas.microsoft.com/office/drawing/2014/main" xmlns="" id="{BE39714D-8C99-4A6D-9249-FE918FFC582B}"/>
              </a:ext>
            </a:extLst>
          </p:cNvPr>
          <p:cNvSpPr/>
          <p:nvPr/>
        </p:nvSpPr>
        <p:spPr>
          <a:xfrm>
            <a:off x="8746785"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7" name="Freeform: Shape 64">
            <a:extLst>
              <a:ext uri="{FF2B5EF4-FFF2-40B4-BE49-F238E27FC236}">
                <a16:creationId xmlns:a16="http://schemas.microsoft.com/office/drawing/2014/main" xmlns="" id="{36EF868A-D1CE-45ED-9A12-2AD02672FE67}"/>
              </a:ext>
            </a:extLst>
          </p:cNvPr>
          <p:cNvSpPr/>
          <p:nvPr/>
        </p:nvSpPr>
        <p:spPr>
          <a:xfrm>
            <a:off x="8746785"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8" name="Freeform: Shape 65">
            <a:extLst>
              <a:ext uri="{FF2B5EF4-FFF2-40B4-BE49-F238E27FC236}">
                <a16:creationId xmlns:a16="http://schemas.microsoft.com/office/drawing/2014/main" xmlns="" id="{9D3A0719-4CFF-4BE7-9146-3673BA3DE103}"/>
              </a:ext>
            </a:extLst>
          </p:cNvPr>
          <p:cNvSpPr/>
          <p:nvPr/>
        </p:nvSpPr>
        <p:spPr>
          <a:xfrm>
            <a:off x="8746785"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9" name="Freeform: Shape 66">
            <a:extLst>
              <a:ext uri="{FF2B5EF4-FFF2-40B4-BE49-F238E27FC236}">
                <a16:creationId xmlns:a16="http://schemas.microsoft.com/office/drawing/2014/main" xmlns="" id="{35331830-4D52-4539-AFC9-BFD540363279}"/>
              </a:ext>
            </a:extLst>
          </p:cNvPr>
          <p:cNvSpPr/>
          <p:nvPr/>
        </p:nvSpPr>
        <p:spPr>
          <a:xfrm>
            <a:off x="8746785"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0" name="Freeform: Shape 67">
            <a:extLst>
              <a:ext uri="{FF2B5EF4-FFF2-40B4-BE49-F238E27FC236}">
                <a16:creationId xmlns:a16="http://schemas.microsoft.com/office/drawing/2014/main" xmlns="" id="{D3E199C5-FD16-4EF7-A0D7-D08A4CF5B2AB}"/>
              </a:ext>
            </a:extLst>
          </p:cNvPr>
          <p:cNvSpPr/>
          <p:nvPr/>
        </p:nvSpPr>
        <p:spPr>
          <a:xfrm>
            <a:off x="8746785"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1" name="Freeform: Shape 68">
            <a:extLst>
              <a:ext uri="{FF2B5EF4-FFF2-40B4-BE49-F238E27FC236}">
                <a16:creationId xmlns:a16="http://schemas.microsoft.com/office/drawing/2014/main" xmlns="" id="{A9D9FBC0-38FF-4B14-AF3B-6D9B7EC3AA78}"/>
              </a:ext>
            </a:extLst>
          </p:cNvPr>
          <p:cNvSpPr/>
          <p:nvPr/>
        </p:nvSpPr>
        <p:spPr>
          <a:xfrm>
            <a:off x="8746785"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2" name="Freeform: Shape 69">
            <a:extLst>
              <a:ext uri="{FF2B5EF4-FFF2-40B4-BE49-F238E27FC236}">
                <a16:creationId xmlns:a16="http://schemas.microsoft.com/office/drawing/2014/main" xmlns="" id="{890221C7-B3AA-4109-B1C7-3F80BCCB6ADF}"/>
              </a:ext>
            </a:extLst>
          </p:cNvPr>
          <p:cNvSpPr/>
          <p:nvPr/>
        </p:nvSpPr>
        <p:spPr>
          <a:xfrm>
            <a:off x="8746785"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3" name="Freeform: Shape 70">
            <a:extLst>
              <a:ext uri="{FF2B5EF4-FFF2-40B4-BE49-F238E27FC236}">
                <a16:creationId xmlns:a16="http://schemas.microsoft.com/office/drawing/2014/main" xmlns="" id="{961A289A-0B65-471E-91D2-20BBB73B7929}"/>
              </a:ext>
            </a:extLst>
          </p:cNvPr>
          <p:cNvSpPr/>
          <p:nvPr/>
        </p:nvSpPr>
        <p:spPr>
          <a:xfrm>
            <a:off x="8746785"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4" name="Freeform: Shape 71">
            <a:extLst>
              <a:ext uri="{FF2B5EF4-FFF2-40B4-BE49-F238E27FC236}">
                <a16:creationId xmlns:a16="http://schemas.microsoft.com/office/drawing/2014/main" xmlns="" id="{3CDDF405-FBA3-4617-8D78-2EA26B8C9642}"/>
              </a:ext>
            </a:extLst>
          </p:cNvPr>
          <p:cNvSpPr/>
          <p:nvPr/>
        </p:nvSpPr>
        <p:spPr>
          <a:xfrm>
            <a:off x="8746785"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8" name="Freeform: Shape 75">
            <a:extLst>
              <a:ext uri="{FF2B5EF4-FFF2-40B4-BE49-F238E27FC236}">
                <a16:creationId xmlns:a16="http://schemas.microsoft.com/office/drawing/2014/main" xmlns="" id="{9F6DE25E-D3E8-4D54-8249-4D42531DAF15}"/>
              </a:ext>
            </a:extLst>
          </p:cNvPr>
          <p:cNvSpPr/>
          <p:nvPr/>
        </p:nvSpPr>
        <p:spPr>
          <a:xfrm>
            <a:off x="9132842"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9" name="Freeform: Shape 76">
            <a:extLst>
              <a:ext uri="{FF2B5EF4-FFF2-40B4-BE49-F238E27FC236}">
                <a16:creationId xmlns:a16="http://schemas.microsoft.com/office/drawing/2014/main" xmlns="" id="{E89BF644-8DAC-44B6-96EE-C66ACC393041}"/>
              </a:ext>
            </a:extLst>
          </p:cNvPr>
          <p:cNvSpPr/>
          <p:nvPr/>
        </p:nvSpPr>
        <p:spPr>
          <a:xfrm>
            <a:off x="9132842"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0" name="Freeform: Shape 77">
            <a:extLst>
              <a:ext uri="{FF2B5EF4-FFF2-40B4-BE49-F238E27FC236}">
                <a16:creationId xmlns:a16="http://schemas.microsoft.com/office/drawing/2014/main" xmlns="" id="{3EFD2C44-15DE-4B1F-8719-CB35BFB4DC90}"/>
              </a:ext>
            </a:extLst>
          </p:cNvPr>
          <p:cNvSpPr/>
          <p:nvPr/>
        </p:nvSpPr>
        <p:spPr>
          <a:xfrm>
            <a:off x="9132842"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1" name="Freeform: Shape 78">
            <a:extLst>
              <a:ext uri="{FF2B5EF4-FFF2-40B4-BE49-F238E27FC236}">
                <a16:creationId xmlns:a16="http://schemas.microsoft.com/office/drawing/2014/main" xmlns="" id="{8855AAE0-1F93-403E-ACCA-E54F21EE8875}"/>
              </a:ext>
            </a:extLst>
          </p:cNvPr>
          <p:cNvSpPr/>
          <p:nvPr/>
        </p:nvSpPr>
        <p:spPr>
          <a:xfrm>
            <a:off x="9132842"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2" name="Freeform: Shape 79">
            <a:extLst>
              <a:ext uri="{FF2B5EF4-FFF2-40B4-BE49-F238E27FC236}">
                <a16:creationId xmlns:a16="http://schemas.microsoft.com/office/drawing/2014/main" xmlns="" id="{B670E133-B6C5-40FA-81D4-5EE1037C64E5}"/>
              </a:ext>
            </a:extLst>
          </p:cNvPr>
          <p:cNvSpPr/>
          <p:nvPr/>
        </p:nvSpPr>
        <p:spPr>
          <a:xfrm>
            <a:off x="9132842"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3" name="Freeform: Shape 80">
            <a:extLst>
              <a:ext uri="{FF2B5EF4-FFF2-40B4-BE49-F238E27FC236}">
                <a16:creationId xmlns:a16="http://schemas.microsoft.com/office/drawing/2014/main" xmlns="" id="{42F03E58-E92E-43A5-B571-1DBDF6A109D4}"/>
              </a:ext>
            </a:extLst>
          </p:cNvPr>
          <p:cNvSpPr/>
          <p:nvPr/>
        </p:nvSpPr>
        <p:spPr>
          <a:xfrm>
            <a:off x="9132842"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4" name="Freeform: Shape 81">
            <a:extLst>
              <a:ext uri="{FF2B5EF4-FFF2-40B4-BE49-F238E27FC236}">
                <a16:creationId xmlns:a16="http://schemas.microsoft.com/office/drawing/2014/main" xmlns="" id="{49AFCAD5-A305-4E27-BE69-3B6AE7AEF871}"/>
              </a:ext>
            </a:extLst>
          </p:cNvPr>
          <p:cNvSpPr/>
          <p:nvPr/>
        </p:nvSpPr>
        <p:spPr>
          <a:xfrm>
            <a:off x="9132842"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5" name="Freeform: Shape 82">
            <a:extLst>
              <a:ext uri="{FF2B5EF4-FFF2-40B4-BE49-F238E27FC236}">
                <a16:creationId xmlns:a16="http://schemas.microsoft.com/office/drawing/2014/main" xmlns="" id="{8F0601A6-BDD1-4188-BEA5-F48DE3CC774C}"/>
              </a:ext>
            </a:extLst>
          </p:cNvPr>
          <p:cNvSpPr/>
          <p:nvPr/>
        </p:nvSpPr>
        <p:spPr>
          <a:xfrm>
            <a:off x="9132842"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6" name="Freeform: Shape 83">
            <a:extLst>
              <a:ext uri="{FF2B5EF4-FFF2-40B4-BE49-F238E27FC236}">
                <a16:creationId xmlns:a16="http://schemas.microsoft.com/office/drawing/2014/main" xmlns="" id="{06D619CF-C35E-4FCC-A191-A828A642371A}"/>
              </a:ext>
            </a:extLst>
          </p:cNvPr>
          <p:cNvSpPr/>
          <p:nvPr/>
        </p:nvSpPr>
        <p:spPr>
          <a:xfrm>
            <a:off x="9132842"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7" name="Freeform: Shape 84">
            <a:extLst>
              <a:ext uri="{FF2B5EF4-FFF2-40B4-BE49-F238E27FC236}">
                <a16:creationId xmlns:a16="http://schemas.microsoft.com/office/drawing/2014/main" xmlns="" id="{EC0949C6-E8A3-499C-95DA-A3BCA6666F07}"/>
              </a:ext>
            </a:extLst>
          </p:cNvPr>
          <p:cNvSpPr/>
          <p:nvPr/>
        </p:nvSpPr>
        <p:spPr>
          <a:xfrm>
            <a:off x="9132842"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1" name="Freeform: Shape 88">
            <a:extLst>
              <a:ext uri="{FF2B5EF4-FFF2-40B4-BE49-F238E27FC236}">
                <a16:creationId xmlns:a16="http://schemas.microsoft.com/office/drawing/2014/main" xmlns="" id="{3C52DB8B-40EF-4D68-9F08-71B21CA9BA60}"/>
              </a:ext>
            </a:extLst>
          </p:cNvPr>
          <p:cNvSpPr/>
          <p:nvPr/>
        </p:nvSpPr>
        <p:spPr>
          <a:xfrm>
            <a:off x="9323517"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2" name="Freeform: Shape 89">
            <a:extLst>
              <a:ext uri="{FF2B5EF4-FFF2-40B4-BE49-F238E27FC236}">
                <a16:creationId xmlns:a16="http://schemas.microsoft.com/office/drawing/2014/main" xmlns="" id="{70D1E08A-9F78-4C61-A1BF-16BCA8DBF8C1}"/>
              </a:ext>
            </a:extLst>
          </p:cNvPr>
          <p:cNvSpPr/>
          <p:nvPr/>
        </p:nvSpPr>
        <p:spPr>
          <a:xfrm>
            <a:off x="9323517"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3" name="Freeform: Shape 90">
            <a:extLst>
              <a:ext uri="{FF2B5EF4-FFF2-40B4-BE49-F238E27FC236}">
                <a16:creationId xmlns:a16="http://schemas.microsoft.com/office/drawing/2014/main" xmlns="" id="{A20B6285-504C-49C3-BEE1-443842CBB9EF}"/>
              </a:ext>
            </a:extLst>
          </p:cNvPr>
          <p:cNvSpPr/>
          <p:nvPr/>
        </p:nvSpPr>
        <p:spPr>
          <a:xfrm>
            <a:off x="9323517"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4" name="Freeform: Shape 91">
            <a:extLst>
              <a:ext uri="{FF2B5EF4-FFF2-40B4-BE49-F238E27FC236}">
                <a16:creationId xmlns:a16="http://schemas.microsoft.com/office/drawing/2014/main" xmlns="" id="{0A465486-6FA2-46CF-8AF3-087582A7F3F2}"/>
              </a:ext>
            </a:extLst>
          </p:cNvPr>
          <p:cNvSpPr/>
          <p:nvPr/>
        </p:nvSpPr>
        <p:spPr>
          <a:xfrm>
            <a:off x="9323517"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5" name="Freeform: Shape 92">
            <a:extLst>
              <a:ext uri="{FF2B5EF4-FFF2-40B4-BE49-F238E27FC236}">
                <a16:creationId xmlns:a16="http://schemas.microsoft.com/office/drawing/2014/main" xmlns="" id="{58A28760-E23C-4514-BE36-1E43ECAB3665}"/>
              </a:ext>
            </a:extLst>
          </p:cNvPr>
          <p:cNvSpPr/>
          <p:nvPr/>
        </p:nvSpPr>
        <p:spPr>
          <a:xfrm>
            <a:off x="9323517"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6" name="Freeform: Shape 93">
            <a:extLst>
              <a:ext uri="{FF2B5EF4-FFF2-40B4-BE49-F238E27FC236}">
                <a16:creationId xmlns:a16="http://schemas.microsoft.com/office/drawing/2014/main" xmlns="" id="{61E031D3-D307-471D-85C1-914DB6D8ABFD}"/>
              </a:ext>
            </a:extLst>
          </p:cNvPr>
          <p:cNvSpPr/>
          <p:nvPr/>
        </p:nvSpPr>
        <p:spPr>
          <a:xfrm>
            <a:off x="9323517"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7" name="Freeform: Shape 94">
            <a:extLst>
              <a:ext uri="{FF2B5EF4-FFF2-40B4-BE49-F238E27FC236}">
                <a16:creationId xmlns:a16="http://schemas.microsoft.com/office/drawing/2014/main" xmlns="" id="{547F21B4-71E9-4C79-AEDE-0AEABED1AC83}"/>
              </a:ext>
            </a:extLst>
          </p:cNvPr>
          <p:cNvSpPr/>
          <p:nvPr/>
        </p:nvSpPr>
        <p:spPr>
          <a:xfrm>
            <a:off x="9323517"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8" name="Freeform: Shape 95">
            <a:extLst>
              <a:ext uri="{FF2B5EF4-FFF2-40B4-BE49-F238E27FC236}">
                <a16:creationId xmlns:a16="http://schemas.microsoft.com/office/drawing/2014/main" xmlns="" id="{34D6F419-C754-4813-AA3A-AC254A39AEE7}"/>
              </a:ext>
            </a:extLst>
          </p:cNvPr>
          <p:cNvSpPr/>
          <p:nvPr/>
        </p:nvSpPr>
        <p:spPr>
          <a:xfrm>
            <a:off x="9323517"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9" name="Freeform: Shape 96">
            <a:extLst>
              <a:ext uri="{FF2B5EF4-FFF2-40B4-BE49-F238E27FC236}">
                <a16:creationId xmlns:a16="http://schemas.microsoft.com/office/drawing/2014/main" xmlns="" id="{8495698C-3CAC-4B66-8991-BE3C92F9749E}"/>
              </a:ext>
            </a:extLst>
          </p:cNvPr>
          <p:cNvSpPr/>
          <p:nvPr/>
        </p:nvSpPr>
        <p:spPr>
          <a:xfrm>
            <a:off x="9323517"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0" name="Freeform: Shape 97">
            <a:extLst>
              <a:ext uri="{FF2B5EF4-FFF2-40B4-BE49-F238E27FC236}">
                <a16:creationId xmlns:a16="http://schemas.microsoft.com/office/drawing/2014/main" xmlns="" id="{0E3953F7-D8B2-4B76-9358-7ACCC99E2C48}"/>
              </a:ext>
            </a:extLst>
          </p:cNvPr>
          <p:cNvSpPr/>
          <p:nvPr/>
        </p:nvSpPr>
        <p:spPr>
          <a:xfrm>
            <a:off x="9323517"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4" name="Freeform: Shape 101">
            <a:extLst>
              <a:ext uri="{FF2B5EF4-FFF2-40B4-BE49-F238E27FC236}">
                <a16:creationId xmlns:a16="http://schemas.microsoft.com/office/drawing/2014/main" xmlns="" id="{D0621C62-43F4-4E41-A3B1-A1E1BBD25A0E}"/>
              </a:ext>
            </a:extLst>
          </p:cNvPr>
          <p:cNvSpPr/>
          <p:nvPr/>
        </p:nvSpPr>
        <p:spPr>
          <a:xfrm>
            <a:off x="9514189"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5" name="Freeform: Shape 102">
            <a:extLst>
              <a:ext uri="{FF2B5EF4-FFF2-40B4-BE49-F238E27FC236}">
                <a16:creationId xmlns:a16="http://schemas.microsoft.com/office/drawing/2014/main" xmlns="" id="{8A1D26CA-9824-4D68-AE35-4F3528CCF57C}"/>
              </a:ext>
            </a:extLst>
          </p:cNvPr>
          <p:cNvSpPr/>
          <p:nvPr/>
        </p:nvSpPr>
        <p:spPr>
          <a:xfrm>
            <a:off x="9514189"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6" name="Freeform: Shape 103">
            <a:extLst>
              <a:ext uri="{FF2B5EF4-FFF2-40B4-BE49-F238E27FC236}">
                <a16:creationId xmlns:a16="http://schemas.microsoft.com/office/drawing/2014/main" xmlns="" id="{F2AEB2A2-DA6C-47B7-8F9E-E8FD33524CAA}"/>
              </a:ext>
            </a:extLst>
          </p:cNvPr>
          <p:cNvSpPr/>
          <p:nvPr/>
        </p:nvSpPr>
        <p:spPr>
          <a:xfrm>
            <a:off x="9514189"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7" name="Freeform: Shape 104">
            <a:extLst>
              <a:ext uri="{FF2B5EF4-FFF2-40B4-BE49-F238E27FC236}">
                <a16:creationId xmlns:a16="http://schemas.microsoft.com/office/drawing/2014/main" xmlns="" id="{238D89A7-05A1-47D3-B81A-47D0120030F7}"/>
              </a:ext>
            </a:extLst>
          </p:cNvPr>
          <p:cNvSpPr/>
          <p:nvPr/>
        </p:nvSpPr>
        <p:spPr>
          <a:xfrm>
            <a:off x="9514189"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8" name="Freeform: Shape 105">
            <a:extLst>
              <a:ext uri="{FF2B5EF4-FFF2-40B4-BE49-F238E27FC236}">
                <a16:creationId xmlns:a16="http://schemas.microsoft.com/office/drawing/2014/main" xmlns="" id="{9C9A3B76-B0DE-461B-BDBB-F6C86830F7EC}"/>
              </a:ext>
            </a:extLst>
          </p:cNvPr>
          <p:cNvSpPr/>
          <p:nvPr/>
        </p:nvSpPr>
        <p:spPr>
          <a:xfrm>
            <a:off x="9514189"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9" name="Freeform: Shape 106">
            <a:extLst>
              <a:ext uri="{FF2B5EF4-FFF2-40B4-BE49-F238E27FC236}">
                <a16:creationId xmlns:a16="http://schemas.microsoft.com/office/drawing/2014/main" xmlns="" id="{A582D1F5-CD47-433A-A5E9-ED1A155DBA1E}"/>
              </a:ext>
            </a:extLst>
          </p:cNvPr>
          <p:cNvSpPr/>
          <p:nvPr/>
        </p:nvSpPr>
        <p:spPr>
          <a:xfrm>
            <a:off x="9514189"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0" name="Freeform: Shape 107">
            <a:extLst>
              <a:ext uri="{FF2B5EF4-FFF2-40B4-BE49-F238E27FC236}">
                <a16:creationId xmlns:a16="http://schemas.microsoft.com/office/drawing/2014/main" xmlns="" id="{0F2CF29B-0A5D-4761-90A7-665E5C8B8312}"/>
              </a:ext>
            </a:extLst>
          </p:cNvPr>
          <p:cNvSpPr/>
          <p:nvPr/>
        </p:nvSpPr>
        <p:spPr>
          <a:xfrm>
            <a:off x="9514189"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1" name="Freeform: Shape 108">
            <a:extLst>
              <a:ext uri="{FF2B5EF4-FFF2-40B4-BE49-F238E27FC236}">
                <a16:creationId xmlns:a16="http://schemas.microsoft.com/office/drawing/2014/main" xmlns="" id="{53E8129B-2FA4-43A7-AD69-4D974B2A3310}"/>
              </a:ext>
            </a:extLst>
          </p:cNvPr>
          <p:cNvSpPr/>
          <p:nvPr/>
        </p:nvSpPr>
        <p:spPr>
          <a:xfrm>
            <a:off x="9514189"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2" name="Freeform: Shape 109">
            <a:extLst>
              <a:ext uri="{FF2B5EF4-FFF2-40B4-BE49-F238E27FC236}">
                <a16:creationId xmlns:a16="http://schemas.microsoft.com/office/drawing/2014/main" xmlns="" id="{1F127EFA-D771-4E90-817E-197B5930EB34}"/>
              </a:ext>
            </a:extLst>
          </p:cNvPr>
          <p:cNvSpPr/>
          <p:nvPr/>
        </p:nvSpPr>
        <p:spPr>
          <a:xfrm>
            <a:off x="9514189"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3" name="Freeform: Shape 110">
            <a:extLst>
              <a:ext uri="{FF2B5EF4-FFF2-40B4-BE49-F238E27FC236}">
                <a16:creationId xmlns:a16="http://schemas.microsoft.com/office/drawing/2014/main" xmlns="" id="{7DF90523-506D-4154-B2DA-6AF191ECE054}"/>
              </a:ext>
            </a:extLst>
          </p:cNvPr>
          <p:cNvSpPr/>
          <p:nvPr/>
        </p:nvSpPr>
        <p:spPr>
          <a:xfrm>
            <a:off x="9514189"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7" name="TextBox 248">
            <a:extLst>
              <a:ext uri="{FF2B5EF4-FFF2-40B4-BE49-F238E27FC236}">
                <a16:creationId xmlns:a16="http://schemas.microsoft.com/office/drawing/2014/main" xmlns="" id="{FD3F0587-E02C-4140-92DF-1D1339B76DBE}"/>
              </a:ext>
            </a:extLst>
          </p:cNvPr>
          <p:cNvSpPr txBox="1"/>
          <p:nvPr/>
        </p:nvSpPr>
        <p:spPr>
          <a:xfrm>
            <a:off x="4998100" y="4457973"/>
            <a:ext cx="537328" cy="334707"/>
          </a:xfrm>
          <a:prstGeom prst="rect">
            <a:avLst/>
          </a:prstGeom>
          <a:noFill/>
        </p:spPr>
        <p:txBody>
          <a:bodyPr wrap="none" rtlCol="0">
            <a:spAutoFit/>
          </a:bodyPr>
          <a:lstStyle/>
          <a:p>
            <a:pPr algn="ctr"/>
            <a:r>
              <a:rPr lang="en-GB" sz="1575" b="1" dirty="0">
                <a:solidFill>
                  <a:schemeClr val="tx2"/>
                </a:solidFill>
                <a:ea typeface="Roboto" charset="0"/>
                <a:cs typeface="Roboto" charset="0"/>
              </a:rPr>
              <a:t>76%</a:t>
            </a:r>
          </a:p>
        </p:txBody>
      </p:sp>
      <p:sp>
        <p:nvSpPr>
          <p:cNvPr id="228" name="TextBox 249">
            <a:extLst>
              <a:ext uri="{FF2B5EF4-FFF2-40B4-BE49-F238E27FC236}">
                <a16:creationId xmlns:a16="http://schemas.microsoft.com/office/drawing/2014/main" xmlns="" id="{DA03CFBB-F8CD-4D7C-86A5-5F65D4E66573}"/>
              </a:ext>
            </a:extLst>
          </p:cNvPr>
          <p:cNvSpPr txBox="1"/>
          <p:nvPr/>
        </p:nvSpPr>
        <p:spPr>
          <a:xfrm>
            <a:off x="3946358" y="4800734"/>
            <a:ext cx="2637463" cy="1195584"/>
          </a:xfrm>
          <a:prstGeom prst="rect">
            <a:avLst/>
          </a:prstGeom>
          <a:noFill/>
        </p:spPr>
        <p:txBody>
          <a:bodyPr wrap="square" rtlCol="0">
            <a:spAutoFit/>
          </a:bodyPr>
          <a:lstStyle/>
          <a:p>
            <a:pPr algn="ctr">
              <a:lnSpc>
                <a:spcPts val="1665"/>
              </a:lnSpc>
            </a:pPr>
            <a:r>
              <a:rPr lang="en-GB" sz="2000" dirty="0">
                <a:ea typeface="Lato Light" charset="0"/>
                <a:cs typeface="Lato Light" charset="0"/>
              </a:rPr>
              <a:t>Of board members believe their companies would respond effectively if a crisis struck tomorrow</a:t>
            </a:r>
          </a:p>
        </p:txBody>
      </p:sp>
      <p:sp>
        <p:nvSpPr>
          <p:cNvPr id="229" name="TextBox 250">
            <a:extLst>
              <a:ext uri="{FF2B5EF4-FFF2-40B4-BE49-F238E27FC236}">
                <a16:creationId xmlns:a16="http://schemas.microsoft.com/office/drawing/2014/main" xmlns="" id="{F05EC090-8A66-44E9-B388-418659B6A1DB}"/>
              </a:ext>
            </a:extLst>
          </p:cNvPr>
          <p:cNvSpPr txBox="1"/>
          <p:nvPr/>
        </p:nvSpPr>
        <p:spPr>
          <a:xfrm>
            <a:off x="8755646" y="4457973"/>
            <a:ext cx="537328" cy="334707"/>
          </a:xfrm>
          <a:prstGeom prst="rect">
            <a:avLst/>
          </a:prstGeom>
          <a:noFill/>
        </p:spPr>
        <p:txBody>
          <a:bodyPr wrap="none" rtlCol="0">
            <a:spAutoFit/>
          </a:bodyPr>
          <a:lstStyle/>
          <a:p>
            <a:pPr algn="ctr"/>
            <a:r>
              <a:rPr lang="en-GB" sz="1575" b="1" dirty="0">
                <a:solidFill>
                  <a:schemeClr val="tx2"/>
                </a:solidFill>
                <a:ea typeface="Roboto" charset="0"/>
                <a:cs typeface="Roboto" charset="0"/>
              </a:rPr>
              <a:t>49%</a:t>
            </a:r>
          </a:p>
        </p:txBody>
      </p:sp>
      <p:sp>
        <p:nvSpPr>
          <p:cNvPr id="230" name="TextBox 251">
            <a:extLst>
              <a:ext uri="{FF2B5EF4-FFF2-40B4-BE49-F238E27FC236}">
                <a16:creationId xmlns:a16="http://schemas.microsoft.com/office/drawing/2014/main" xmlns="" id="{1F464F22-A509-478A-954B-E1BC54F79CB9}"/>
              </a:ext>
            </a:extLst>
          </p:cNvPr>
          <p:cNvSpPr txBox="1"/>
          <p:nvPr/>
        </p:nvSpPr>
        <p:spPr>
          <a:xfrm>
            <a:off x="7685477" y="4792680"/>
            <a:ext cx="2637463" cy="1413592"/>
          </a:xfrm>
          <a:prstGeom prst="rect">
            <a:avLst/>
          </a:prstGeom>
          <a:noFill/>
        </p:spPr>
        <p:txBody>
          <a:bodyPr wrap="square" rtlCol="0">
            <a:spAutoFit/>
          </a:bodyPr>
          <a:lstStyle/>
          <a:p>
            <a:pPr algn="ctr">
              <a:lnSpc>
                <a:spcPts val="1665"/>
              </a:lnSpc>
            </a:pPr>
            <a:r>
              <a:rPr lang="en-GB" sz="2000" dirty="0">
                <a:ea typeface="Lato Light" charset="0"/>
                <a:cs typeface="Lato Light" charset="0"/>
              </a:rPr>
              <a:t>Of board members say their companies engage in monitoring internal communications to detect trouble ahead</a:t>
            </a:r>
          </a:p>
        </p:txBody>
      </p:sp>
      <p:sp>
        <p:nvSpPr>
          <p:cNvPr id="231" name="TextBox 249">
            <a:extLst>
              <a:ext uri="{FF2B5EF4-FFF2-40B4-BE49-F238E27FC236}">
                <a16:creationId xmlns:a16="http://schemas.microsoft.com/office/drawing/2014/main" xmlns="" id="{D10BFFFA-BDDA-4FCE-BD25-D5AFA591FA22}"/>
              </a:ext>
            </a:extLst>
          </p:cNvPr>
          <p:cNvSpPr txBox="1"/>
          <p:nvPr/>
        </p:nvSpPr>
        <p:spPr>
          <a:xfrm>
            <a:off x="207083" y="6137531"/>
            <a:ext cx="4569799" cy="300275"/>
          </a:xfrm>
          <a:prstGeom prst="rect">
            <a:avLst/>
          </a:prstGeom>
          <a:noFill/>
        </p:spPr>
        <p:txBody>
          <a:bodyPr wrap="square" rtlCol="0">
            <a:spAutoFit/>
          </a:bodyPr>
          <a:lstStyle/>
          <a:p>
            <a:pPr>
              <a:lnSpc>
                <a:spcPts val="1665"/>
              </a:lnSpc>
            </a:pPr>
            <a:r>
              <a:rPr lang="en-GB" sz="1313" dirty="0">
                <a:ea typeface="Lato Light" charset="0"/>
                <a:cs typeface="Lato Light" charset="0"/>
              </a:rPr>
              <a:t>Source: Deloitte</a:t>
            </a:r>
          </a:p>
        </p:txBody>
      </p:sp>
    </p:spTree>
    <p:extLst>
      <p:ext uri="{BB962C8B-B14F-4D97-AF65-F5344CB8AC3E}">
        <p14:creationId xmlns:p14="http://schemas.microsoft.com/office/powerpoint/2010/main" val="3478577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63187" y="469388"/>
            <a:ext cx="8852375" cy="697353"/>
          </a:xfrm>
        </p:spPr>
        <p:txBody>
          <a:bodyPr>
            <a:normAutofit/>
          </a:bodyPr>
          <a:lstStyle/>
          <a:p>
            <a:r>
              <a:rPr lang="en-GB" dirty="0"/>
              <a:t>The Importance of Risk Manageme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30076" y="1774480"/>
            <a:ext cx="3444368" cy="49760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ntrepreneurial action is not possible without risks because the future and the effects of actions cannot be predicted with certainty.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task of risk management is to use suitable methods to create transparency about the risk situation in the company (risk controlling) and to optimize the risk/return profile of a company (risk management).</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123" name="Subtitle 2">
            <a:extLst>
              <a:ext uri="{FF2B5EF4-FFF2-40B4-BE49-F238E27FC236}">
                <a16:creationId xmlns:a16="http://schemas.microsoft.com/office/drawing/2014/main" xmlns="" id="{3D655CBB-E809-4EE7-A175-CBFD4507899E}"/>
              </a:ext>
            </a:extLst>
          </p:cNvPr>
          <p:cNvSpPr txBox="1">
            <a:spLocks/>
          </p:cNvSpPr>
          <p:nvPr/>
        </p:nvSpPr>
        <p:spPr>
          <a:xfrm>
            <a:off x="4528457" y="1960497"/>
            <a:ext cx="7346381" cy="489750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Risk management is the art and science of identifying, </a:t>
            </a:r>
            <a:r>
              <a:rPr lang="en-GB" sz="2000" dirty="0" err="1">
                <a:solidFill>
                  <a:srgbClr val="245473"/>
                </a:solidFill>
                <a:latin typeface="+mj-lt"/>
                <a:ea typeface="Lato Light" panose="020F0502020204030203" pitchFamily="34" charset="0"/>
                <a:cs typeface="Mukta ExtraLight" panose="020B0000000000000000" pitchFamily="34" charset="77"/>
              </a:rPr>
              <a:t>analyzing</a:t>
            </a:r>
            <a:r>
              <a:rPr lang="en-GB" sz="2000" dirty="0">
                <a:solidFill>
                  <a:srgbClr val="245473"/>
                </a:solidFill>
                <a:latin typeface="+mj-lt"/>
                <a:ea typeface="Lato Light" panose="020F0502020204030203" pitchFamily="34" charset="0"/>
                <a:cs typeface="Mukta ExtraLight" panose="020B0000000000000000" pitchFamily="34" charset="77"/>
              </a:rPr>
              <a:t>, and responding to risk throughout a compony or throughout the life of a project and in the best interests of meeting project objectives.</a:t>
            </a:r>
          </a:p>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Risk management is often overlooked in both, companies and projects. It can help improve success by helping select good strategies and projects, determining scope, and developing realistic estimates.</a:t>
            </a:r>
          </a:p>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Enterprise Risk Management (ERM) is a process, effected by an entity’s Board of Directors, management and other personnel, applied in a strategy setting and across the enterprise, designed to identify potential events that may affect the entity, and manage risks to be within its risk appetite to provide reasonable assurance regarding the achievement of entity objectives</a:t>
            </a:r>
          </a:p>
          <a:p>
            <a:pPr algn="l">
              <a:lnSpc>
                <a:spcPct val="100000"/>
              </a:lnSpc>
            </a:pPr>
            <a:endParaRPr lang="en-GB" sz="2000" dirty="0">
              <a:solidFill>
                <a:schemeClr val="tx1"/>
              </a:solidFill>
              <a:latin typeface="+mj-lt"/>
              <a:ea typeface="Lato Light" panose="020F0502020204030203" pitchFamily="34" charset="0"/>
              <a:cs typeface="Mukta ExtraLight" panose="020B0000000000000000" pitchFamily="34" charset="77"/>
            </a:endParaRPr>
          </a:p>
          <a:p>
            <a:pPr algn="l">
              <a:lnSpc>
                <a:spcPct val="100000"/>
              </a:lnSpc>
            </a:pPr>
            <a:endParaRPr lang="en-GB" sz="2000" dirty="0">
              <a:solidFill>
                <a:schemeClr val="tx1"/>
              </a:solidFill>
              <a:latin typeface="+mj-lt"/>
              <a:ea typeface="Lato Light" panose="020F0502020204030203" pitchFamily="34" charset="0"/>
              <a:cs typeface="Mukta ExtraLight" panose="020B0000000000000000" pitchFamily="34" charset="77"/>
            </a:endParaRPr>
          </a:p>
        </p:txBody>
      </p:sp>
      <p:cxnSp>
        <p:nvCxnSpPr>
          <p:cNvPr id="5" name="Straight Connector 4">
            <a:extLst>
              <a:ext uri="{FF2B5EF4-FFF2-40B4-BE49-F238E27FC236}">
                <a16:creationId xmlns:a16="http://schemas.microsoft.com/office/drawing/2014/main" xmlns="" id="{80A4E5A9-0658-4044-B07A-0D2092A4E383}"/>
              </a:ext>
            </a:extLst>
          </p:cNvPr>
          <p:cNvCxnSpPr/>
          <p:nvPr/>
        </p:nvCxnSpPr>
        <p:spPr>
          <a:xfrm>
            <a:off x="4191000" y="2177143"/>
            <a:ext cx="0" cy="372291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0290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2BBA3F5F-81E8-4D88-8AAF-9AABD8E5B9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2BBA3F5F-81E8-4D88-8AAF-9AABD8E5B9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6922" y="608352"/>
            <a:ext cx="8852375" cy="697353"/>
          </a:xfrm>
        </p:spPr>
        <p:txBody>
          <a:bodyPr>
            <a:normAutofit/>
          </a:bodyPr>
          <a:lstStyle/>
          <a:p>
            <a:r>
              <a:rPr lang="en-GB" dirty="0"/>
              <a:t>How does “good” Risk Management look like?</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16252" y="2074439"/>
            <a:ext cx="2520436" cy="42989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objective of risk management is to ensure uncertainty never deflects the endeavour from the established business goals.</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The Question now is, what does good Risk Management looks like</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1" name="Subtitle 2">
            <a:extLst>
              <a:ext uri="{FF2B5EF4-FFF2-40B4-BE49-F238E27FC236}">
                <a16:creationId xmlns:a16="http://schemas.microsoft.com/office/drawing/2014/main" xmlns="" id="{722CFC46-EDB9-4ACD-AA72-A34530377E09}"/>
              </a:ext>
            </a:extLst>
          </p:cNvPr>
          <p:cNvSpPr txBox="1">
            <a:spLocks/>
          </p:cNvSpPr>
          <p:nvPr/>
        </p:nvSpPr>
        <p:spPr>
          <a:xfrm>
            <a:off x="6778176" y="4336903"/>
            <a:ext cx="5551649"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Robust people processes – supporting risk balance. Management buy-in; adherence; constantly refreshed</a:t>
            </a:r>
            <a:endParaRPr lang="en-GB" sz="1800" dirty="0">
              <a:solidFill>
                <a:schemeClr val="tx1"/>
              </a:solidFill>
              <a:latin typeface="+mj-lt"/>
              <a:ea typeface="Lato Light" panose="020F0502020204030203" pitchFamily="34" charset="0"/>
              <a:cs typeface="Mukta ExtraLight" panose="020B0000000000000000" pitchFamily="34" charset="77"/>
            </a:endParaRPr>
          </a:p>
        </p:txBody>
      </p:sp>
      <p:sp>
        <p:nvSpPr>
          <p:cNvPr id="52" name="Subtitle 2">
            <a:extLst>
              <a:ext uri="{FF2B5EF4-FFF2-40B4-BE49-F238E27FC236}">
                <a16:creationId xmlns:a16="http://schemas.microsoft.com/office/drawing/2014/main" xmlns="" id="{E24CD672-E49F-41A2-85DF-7695EAF3A22A}"/>
              </a:ext>
            </a:extLst>
          </p:cNvPr>
          <p:cNvSpPr txBox="1">
            <a:spLocks/>
          </p:cNvSpPr>
          <p:nvPr/>
        </p:nvSpPr>
        <p:spPr>
          <a:xfrm>
            <a:off x="6200405" y="2028377"/>
            <a:ext cx="5991595"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Dynamic challenge assumptions, think unthinkable, constant learning</a:t>
            </a:r>
          </a:p>
        </p:txBody>
      </p:sp>
      <p:sp>
        <p:nvSpPr>
          <p:cNvPr id="53" name="Subtitle 2">
            <a:extLst>
              <a:ext uri="{FF2B5EF4-FFF2-40B4-BE49-F238E27FC236}">
                <a16:creationId xmlns:a16="http://schemas.microsoft.com/office/drawing/2014/main" xmlns="" id="{A00E2B81-D2A4-44DD-8611-2A42896C8B7B}"/>
              </a:ext>
            </a:extLst>
          </p:cNvPr>
          <p:cNvSpPr txBox="1">
            <a:spLocks/>
          </p:cNvSpPr>
          <p:nvPr/>
        </p:nvSpPr>
        <p:spPr>
          <a:xfrm>
            <a:off x="6952474" y="2670417"/>
            <a:ext cx="5406456"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Clear governance structure &amp; behaviour, aligned             with business aims</a:t>
            </a:r>
          </a:p>
        </p:txBody>
      </p:sp>
      <p:sp>
        <p:nvSpPr>
          <p:cNvPr id="55" name="Subtitle 2">
            <a:extLst>
              <a:ext uri="{FF2B5EF4-FFF2-40B4-BE49-F238E27FC236}">
                <a16:creationId xmlns:a16="http://schemas.microsoft.com/office/drawing/2014/main" xmlns="" id="{EF743D18-5F06-4271-A067-C1CD054606A1}"/>
              </a:ext>
            </a:extLst>
          </p:cNvPr>
          <p:cNvSpPr txBox="1">
            <a:spLocks/>
          </p:cNvSpPr>
          <p:nvPr/>
        </p:nvSpPr>
        <p:spPr>
          <a:xfrm>
            <a:off x="6115751" y="5539336"/>
            <a:ext cx="5989162"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Consistent approach from individual to team to Organization – yet variegated according to needs (flexibility)</a:t>
            </a:r>
          </a:p>
        </p:txBody>
      </p:sp>
      <p:sp>
        <p:nvSpPr>
          <p:cNvPr id="56" name="Subtitle 2">
            <a:extLst>
              <a:ext uri="{FF2B5EF4-FFF2-40B4-BE49-F238E27FC236}">
                <a16:creationId xmlns:a16="http://schemas.microsoft.com/office/drawing/2014/main" xmlns="" id="{77C17AD6-035D-4397-B02D-F5FB8BCDD959}"/>
              </a:ext>
            </a:extLst>
          </p:cNvPr>
          <p:cNvSpPr txBox="1">
            <a:spLocks/>
          </p:cNvSpPr>
          <p:nvPr/>
        </p:nvSpPr>
        <p:spPr>
          <a:xfrm>
            <a:off x="6778176" y="5051425"/>
            <a:ext cx="5128568" cy="31163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Triangulation – use multiple perspectives, data sources</a:t>
            </a:r>
          </a:p>
        </p:txBody>
      </p:sp>
      <p:sp>
        <p:nvSpPr>
          <p:cNvPr id="58" name="Subtitle 2">
            <a:extLst>
              <a:ext uri="{FF2B5EF4-FFF2-40B4-BE49-F238E27FC236}">
                <a16:creationId xmlns:a16="http://schemas.microsoft.com/office/drawing/2014/main" xmlns="" id="{9A5F27ED-4D3F-44C5-961C-CE338DFB3A35}"/>
              </a:ext>
            </a:extLst>
          </p:cNvPr>
          <p:cNvSpPr txBox="1">
            <a:spLocks/>
          </p:cNvSpPr>
          <p:nvPr/>
        </p:nvSpPr>
        <p:spPr>
          <a:xfrm>
            <a:off x="7379064" y="3306473"/>
            <a:ext cx="4725849"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Transparency, honest debate, role-modelled at ‘top’</a:t>
            </a:r>
          </a:p>
        </p:txBody>
      </p:sp>
      <p:sp>
        <p:nvSpPr>
          <p:cNvPr id="62" name="Subtitle 2">
            <a:extLst>
              <a:ext uri="{FF2B5EF4-FFF2-40B4-BE49-F238E27FC236}">
                <a16:creationId xmlns:a16="http://schemas.microsoft.com/office/drawing/2014/main" xmlns="" id="{0CBE5862-B4F5-4806-B4A1-1EE0CD805188}"/>
              </a:ext>
            </a:extLst>
          </p:cNvPr>
          <p:cNvSpPr txBox="1">
            <a:spLocks/>
          </p:cNvSpPr>
          <p:nvPr/>
        </p:nvSpPr>
        <p:spPr>
          <a:xfrm>
            <a:off x="7034599" y="4082627"/>
            <a:ext cx="4281114" cy="2205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altLang="de-DE" sz="1800" dirty="0">
                <a:latin typeface="+mj-lt"/>
              </a:rPr>
              <a:t>HR helps to set the agenda and ‘educate’</a:t>
            </a:r>
          </a:p>
        </p:txBody>
      </p:sp>
      <p:grpSp>
        <p:nvGrpSpPr>
          <p:cNvPr id="8" name="Gruppieren 7">
            <a:extLst>
              <a:ext uri="{FF2B5EF4-FFF2-40B4-BE49-F238E27FC236}">
                <a16:creationId xmlns:a16="http://schemas.microsoft.com/office/drawing/2014/main" xmlns="" id="{9572A910-2B32-48BC-A5B8-EC75A218D98E}"/>
              </a:ext>
            </a:extLst>
          </p:cNvPr>
          <p:cNvGrpSpPr>
            <a:grpSpLocks noChangeAspect="1"/>
          </p:cNvGrpSpPr>
          <p:nvPr/>
        </p:nvGrpSpPr>
        <p:grpSpPr>
          <a:xfrm>
            <a:off x="3252118" y="2227572"/>
            <a:ext cx="4045442" cy="3658792"/>
            <a:chOff x="3323926" y="1926057"/>
            <a:chExt cx="4565577" cy="4129207"/>
          </a:xfrm>
        </p:grpSpPr>
        <p:sp>
          <p:nvSpPr>
            <p:cNvPr id="11" name="Rectangle 174">
              <a:extLst>
                <a:ext uri="{FF2B5EF4-FFF2-40B4-BE49-F238E27FC236}">
                  <a16:creationId xmlns:a16="http://schemas.microsoft.com/office/drawing/2014/main" xmlns="" id="{3D7543F4-C69B-4A37-85CD-334585B9332C}"/>
                </a:ext>
              </a:extLst>
            </p:cNvPr>
            <p:cNvSpPr>
              <a:spLocks noChangeArrowheads="1"/>
            </p:cNvSpPr>
            <p:nvPr/>
          </p:nvSpPr>
          <p:spPr bwMode="auto">
            <a:xfrm>
              <a:off x="3327166" y="3189361"/>
              <a:ext cx="3962035" cy="534200"/>
            </a:xfrm>
            <a:prstGeom prst="rect">
              <a:avLst/>
            </a:prstGeom>
            <a:solidFill>
              <a:schemeClr val="accent3"/>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12" name="Rectangle 178">
              <a:extLst>
                <a:ext uri="{FF2B5EF4-FFF2-40B4-BE49-F238E27FC236}">
                  <a16:creationId xmlns:a16="http://schemas.microsoft.com/office/drawing/2014/main" xmlns="" id="{FCB98EA6-1280-4E7D-BD35-E2A1A0D77DD8}"/>
                </a:ext>
              </a:extLst>
            </p:cNvPr>
            <p:cNvSpPr>
              <a:spLocks noChangeArrowheads="1"/>
            </p:cNvSpPr>
            <p:nvPr/>
          </p:nvSpPr>
          <p:spPr bwMode="auto">
            <a:xfrm>
              <a:off x="3327166" y="4791961"/>
              <a:ext cx="3567334" cy="534677"/>
            </a:xfrm>
            <a:prstGeom prst="rect">
              <a:avLst/>
            </a:prstGeom>
            <a:solidFill>
              <a:schemeClr val="accent6"/>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13" name="Freeform 182">
              <a:extLst>
                <a:ext uri="{FF2B5EF4-FFF2-40B4-BE49-F238E27FC236}">
                  <a16:creationId xmlns:a16="http://schemas.microsoft.com/office/drawing/2014/main" xmlns="" id="{BB954DD3-8601-4803-A4BE-14CEC13C1E12}"/>
                </a:ext>
              </a:extLst>
            </p:cNvPr>
            <p:cNvSpPr>
              <a:spLocks/>
            </p:cNvSpPr>
            <p:nvPr/>
          </p:nvSpPr>
          <p:spPr bwMode="auto">
            <a:xfrm>
              <a:off x="6422041" y="4598009"/>
              <a:ext cx="922103" cy="923532"/>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chemeClr val="accent6"/>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0" name="Rectangle 188">
              <a:extLst>
                <a:ext uri="{FF2B5EF4-FFF2-40B4-BE49-F238E27FC236}">
                  <a16:creationId xmlns:a16="http://schemas.microsoft.com/office/drawing/2014/main" xmlns="" id="{1F7E0252-2CB6-474F-A626-43FB4D1454AE}"/>
                </a:ext>
              </a:extLst>
            </p:cNvPr>
            <p:cNvSpPr>
              <a:spLocks noChangeArrowheads="1"/>
            </p:cNvSpPr>
            <p:nvPr/>
          </p:nvSpPr>
          <p:spPr bwMode="auto">
            <a:xfrm>
              <a:off x="3323926" y="2654684"/>
              <a:ext cx="3290099" cy="534677"/>
            </a:xfrm>
            <a:prstGeom prst="rect">
              <a:avLst/>
            </a:prstGeom>
            <a:solidFill>
              <a:schemeClr val="accent2"/>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1" name="Freeform 191">
              <a:extLst>
                <a:ext uri="{FF2B5EF4-FFF2-40B4-BE49-F238E27FC236}">
                  <a16:creationId xmlns:a16="http://schemas.microsoft.com/office/drawing/2014/main" xmlns="" id="{6D814D26-F4DD-4A71-A964-B4A985D8AB89}"/>
                </a:ext>
              </a:extLst>
            </p:cNvPr>
            <p:cNvSpPr>
              <a:spLocks/>
            </p:cNvSpPr>
            <p:nvPr/>
          </p:nvSpPr>
          <p:spPr bwMode="auto">
            <a:xfrm>
              <a:off x="6190233" y="2460257"/>
              <a:ext cx="922102" cy="923532"/>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2"/>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5" name="Rectangle 194">
              <a:extLst>
                <a:ext uri="{FF2B5EF4-FFF2-40B4-BE49-F238E27FC236}">
                  <a16:creationId xmlns:a16="http://schemas.microsoft.com/office/drawing/2014/main" xmlns="" id="{04AC9971-2B1C-4D16-86AE-25D35E02BFC9}"/>
                </a:ext>
              </a:extLst>
            </p:cNvPr>
            <p:cNvSpPr>
              <a:spLocks noChangeArrowheads="1"/>
            </p:cNvSpPr>
            <p:nvPr/>
          </p:nvSpPr>
          <p:spPr bwMode="auto">
            <a:xfrm>
              <a:off x="3323927" y="3723084"/>
              <a:ext cx="3470349" cy="534677"/>
            </a:xfrm>
            <a:prstGeom prst="rect">
              <a:avLst/>
            </a:prstGeom>
            <a:solidFill>
              <a:schemeClr val="accent4"/>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6" name="Freeform 198">
              <a:extLst>
                <a:ext uri="{FF2B5EF4-FFF2-40B4-BE49-F238E27FC236}">
                  <a16:creationId xmlns:a16="http://schemas.microsoft.com/office/drawing/2014/main" xmlns="" id="{E07616DE-8DDF-4AD2-A424-ACC10C74C26F}"/>
                </a:ext>
              </a:extLst>
            </p:cNvPr>
            <p:cNvSpPr>
              <a:spLocks/>
            </p:cNvSpPr>
            <p:nvPr/>
          </p:nvSpPr>
          <p:spPr bwMode="auto">
            <a:xfrm>
              <a:off x="6417336" y="3529134"/>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4"/>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8" name="Rectangle 200">
              <a:extLst>
                <a:ext uri="{FF2B5EF4-FFF2-40B4-BE49-F238E27FC236}">
                  <a16:creationId xmlns:a16="http://schemas.microsoft.com/office/drawing/2014/main" xmlns="" id="{71C9A8E4-38BB-4BED-88C7-D7DA306E2EF5}"/>
                </a:ext>
              </a:extLst>
            </p:cNvPr>
            <p:cNvSpPr>
              <a:spLocks noChangeArrowheads="1"/>
            </p:cNvSpPr>
            <p:nvPr/>
          </p:nvSpPr>
          <p:spPr bwMode="auto">
            <a:xfrm>
              <a:off x="3327165" y="4257760"/>
              <a:ext cx="3175889" cy="534200"/>
            </a:xfrm>
            <a:prstGeom prst="rect">
              <a:avLst/>
            </a:prstGeom>
            <a:solidFill>
              <a:schemeClr val="accent5"/>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9" name="Freeform 204">
              <a:extLst>
                <a:ext uri="{FF2B5EF4-FFF2-40B4-BE49-F238E27FC236}">
                  <a16:creationId xmlns:a16="http://schemas.microsoft.com/office/drawing/2014/main" xmlns="" id="{23F278DA-AF1A-451C-96F3-E7A611318764}"/>
                </a:ext>
              </a:extLst>
            </p:cNvPr>
            <p:cNvSpPr>
              <a:spLocks/>
            </p:cNvSpPr>
            <p:nvPr/>
          </p:nvSpPr>
          <p:spPr bwMode="auto">
            <a:xfrm>
              <a:off x="5872174" y="4063809"/>
              <a:ext cx="922102" cy="923056"/>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chemeClr val="accent5"/>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1" name="Rectangle 206">
              <a:extLst>
                <a:ext uri="{FF2B5EF4-FFF2-40B4-BE49-F238E27FC236}">
                  <a16:creationId xmlns:a16="http://schemas.microsoft.com/office/drawing/2014/main" xmlns="" id="{F05D5172-7568-4E88-B82D-6A74AFD8105F}"/>
                </a:ext>
              </a:extLst>
            </p:cNvPr>
            <p:cNvSpPr>
              <a:spLocks noChangeArrowheads="1"/>
            </p:cNvSpPr>
            <p:nvPr/>
          </p:nvSpPr>
          <p:spPr bwMode="auto">
            <a:xfrm>
              <a:off x="3327165" y="2120485"/>
              <a:ext cx="2768259" cy="534200"/>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2" name="Freeform 210">
              <a:extLst>
                <a:ext uri="{FF2B5EF4-FFF2-40B4-BE49-F238E27FC236}">
                  <a16:creationId xmlns:a16="http://schemas.microsoft.com/office/drawing/2014/main" xmlns="" id="{BBF6BC59-7284-4127-A1C1-24340767B9A9}"/>
                </a:ext>
              </a:extLst>
            </p:cNvPr>
            <p:cNvSpPr>
              <a:spLocks/>
            </p:cNvSpPr>
            <p:nvPr/>
          </p:nvSpPr>
          <p:spPr bwMode="auto">
            <a:xfrm>
              <a:off x="5605789" y="1926057"/>
              <a:ext cx="921626" cy="923056"/>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7" name="Rectangle 214">
              <a:extLst>
                <a:ext uri="{FF2B5EF4-FFF2-40B4-BE49-F238E27FC236}">
                  <a16:creationId xmlns:a16="http://schemas.microsoft.com/office/drawing/2014/main" xmlns="" id="{8D1B20E2-A08B-40AE-BB88-D782912F6ED9}"/>
                </a:ext>
              </a:extLst>
            </p:cNvPr>
            <p:cNvSpPr>
              <a:spLocks noChangeArrowheads="1"/>
            </p:cNvSpPr>
            <p:nvPr/>
          </p:nvSpPr>
          <p:spPr bwMode="auto">
            <a:xfrm>
              <a:off x="3327165" y="5326636"/>
              <a:ext cx="2768259" cy="534200"/>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8" name="Freeform 217">
              <a:extLst>
                <a:ext uri="{FF2B5EF4-FFF2-40B4-BE49-F238E27FC236}">
                  <a16:creationId xmlns:a16="http://schemas.microsoft.com/office/drawing/2014/main" xmlns="" id="{BD8C7E6A-F18A-42FE-823C-DFE3EACF3522}"/>
                </a:ext>
              </a:extLst>
            </p:cNvPr>
            <p:cNvSpPr>
              <a:spLocks/>
            </p:cNvSpPr>
            <p:nvPr/>
          </p:nvSpPr>
          <p:spPr bwMode="auto">
            <a:xfrm>
              <a:off x="5605312" y="5132208"/>
              <a:ext cx="922102" cy="923056"/>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40" name="Freeform 198">
              <a:extLst>
                <a:ext uri="{FF2B5EF4-FFF2-40B4-BE49-F238E27FC236}">
                  <a16:creationId xmlns:a16="http://schemas.microsoft.com/office/drawing/2014/main" xmlns="" id="{31BBAE37-9425-4968-BA27-E960144E12EB}"/>
                </a:ext>
              </a:extLst>
            </p:cNvPr>
            <p:cNvSpPr>
              <a:spLocks/>
            </p:cNvSpPr>
            <p:nvPr/>
          </p:nvSpPr>
          <p:spPr bwMode="auto">
            <a:xfrm>
              <a:off x="6967401" y="3005995"/>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3"/>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42" name="TextBox 79">
              <a:extLst>
                <a:ext uri="{FF2B5EF4-FFF2-40B4-BE49-F238E27FC236}">
                  <a16:creationId xmlns:a16="http://schemas.microsoft.com/office/drawing/2014/main" xmlns="" id="{77FAAF9B-62AD-4142-B097-5E27E3279E74}"/>
                </a:ext>
              </a:extLst>
            </p:cNvPr>
            <p:cNvSpPr txBox="1"/>
            <p:nvPr/>
          </p:nvSpPr>
          <p:spPr>
            <a:xfrm>
              <a:off x="3357756" y="5364652"/>
              <a:ext cx="1778712"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Consistent</a:t>
              </a:r>
            </a:p>
          </p:txBody>
        </p:sp>
        <p:sp>
          <p:nvSpPr>
            <p:cNvPr id="43" name="TextBox 80">
              <a:extLst>
                <a:ext uri="{FF2B5EF4-FFF2-40B4-BE49-F238E27FC236}">
                  <a16:creationId xmlns:a16="http://schemas.microsoft.com/office/drawing/2014/main" xmlns="" id="{AD08E6EA-98F8-4EEB-A2FB-2D07CEAD2F9A}"/>
                </a:ext>
              </a:extLst>
            </p:cNvPr>
            <p:cNvSpPr txBox="1"/>
            <p:nvPr/>
          </p:nvSpPr>
          <p:spPr>
            <a:xfrm>
              <a:off x="3357756" y="4830840"/>
              <a:ext cx="2120127"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Triangulation</a:t>
              </a:r>
            </a:p>
          </p:txBody>
        </p:sp>
        <p:sp>
          <p:nvSpPr>
            <p:cNvPr id="44" name="TextBox 81">
              <a:extLst>
                <a:ext uri="{FF2B5EF4-FFF2-40B4-BE49-F238E27FC236}">
                  <a16:creationId xmlns:a16="http://schemas.microsoft.com/office/drawing/2014/main" xmlns="" id="{338BD5E9-9572-40D2-A31A-5738E7A40B39}"/>
                </a:ext>
              </a:extLst>
            </p:cNvPr>
            <p:cNvSpPr txBox="1"/>
            <p:nvPr/>
          </p:nvSpPr>
          <p:spPr>
            <a:xfrm>
              <a:off x="3357756" y="4290483"/>
              <a:ext cx="2806285"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People Processes</a:t>
              </a:r>
            </a:p>
          </p:txBody>
        </p:sp>
        <p:sp>
          <p:nvSpPr>
            <p:cNvPr id="45" name="TextBox 82">
              <a:extLst>
                <a:ext uri="{FF2B5EF4-FFF2-40B4-BE49-F238E27FC236}">
                  <a16:creationId xmlns:a16="http://schemas.microsoft.com/office/drawing/2014/main" xmlns="" id="{7EDF942F-8882-44D0-9A3D-B6E0DF6E05C1}"/>
                </a:ext>
              </a:extLst>
            </p:cNvPr>
            <p:cNvSpPr txBox="1"/>
            <p:nvPr/>
          </p:nvSpPr>
          <p:spPr>
            <a:xfrm>
              <a:off x="3357756" y="3754097"/>
              <a:ext cx="2216516"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HR-Integrated</a:t>
              </a:r>
            </a:p>
          </p:txBody>
        </p:sp>
        <p:sp>
          <p:nvSpPr>
            <p:cNvPr id="46" name="TextBox 83">
              <a:extLst>
                <a:ext uri="{FF2B5EF4-FFF2-40B4-BE49-F238E27FC236}">
                  <a16:creationId xmlns:a16="http://schemas.microsoft.com/office/drawing/2014/main" xmlns="" id="{D4E9E9B3-DCFD-457E-88ED-E963E869371E}"/>
                </a:ext>
              </a:extLst>
            </p:cNvPr>
            <p:cNvSpPr txBox="1"/>
            <p:nvPr/>
          </p:nvSpPr>
          <p:spPr>
            <a:xfrm>
              <a:off x="3357756" y="3234943"/>
              <a:ext cx="1946453"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Transparent</a:t>
              </a:r>
            </a:p>
          </p:txBody>
        </p:sp>
        <p:sp>
          <p:nvSpPr>
            <p:cNvPr id="47" name="TextBox 84">
              <a:extLst>
                <a:ext uri="{FF2B5EF4-FFF2-40B4-BE49-F238E27FC236}">
                  <a16:creationId xmlns:a16="http://schemas.microsoft.com/office/drawing/2014/main" xmlns="" id="{6B4CF630-4892-48E7-9943-DED9F9C631C3}"/>
                </a:ext>
              </a:extLst>
            </p:cNvPr>
            <p:cNvSpPr txBox="1"/>
            <p:nvPr/>
          </p:nvSpPr>
          <p:spPr>
            <a:xfrm>
              <a:off x="3357756" y="2700267"/>
              <a:ext cx="1963242"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Governance</a:t>
              </a:r>
            </a:p>
          </p:txBody>
        </p:sp>
        <p:sp>
          <p:nvSpPr>
            <p:cNvPr id="48" name="TextBox 85">
              <a:extLst>
                <a:ext uri="{FF2B5EF4-FFF2-40B4-BE49-F238E27FC236}">
                  <a16:creationId xmlns:a16="http://schemas.microsoft.com/office/drawing/2014/main" xmlns="" id="{A84DD1F0-3312-491C-8EC6-E07AAF3F529D}"/>
                </a:ext>
              </a:extLst>
            </p:cNvPr>
            <p:cNvSpPr txBox="1"/>
            <p:nvPr/>
          </p:nvSpPr>
          <p:spPr>
            <a:xfrm>
              <a:off x="3357756" y="2159909"/>
              <a:ext cx="1472974"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Dynamic</a:t>
              </a:r>
            </a:p>
          </p:txBody>
        </p:sp>
      </p:grpSp>
    </p:spTree>
    <p:extLst>
      <p:ext uri="{BB962C8B-B14F-4D97-AF65-F5344CB8AC3E}">
        <p14:creationId xmlns:p14="http://schemas.microsoft.com/office/powerpoint/2010/main" val="37826236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95061"/>
            <a:ext cx="8852375" cy="697353"/>
          </a:xfrm>
        </p:spPr>
        <p:txBody>
          <a:bodyPr>
            <a:normAutofit/>
          </a:bodyPr>
          <a:lstStyle/>
          <a:p>
            <a:r>
              <a:rPr lang="en-GB" dirty="0"/>
              <a:t>Key Elements of Enterprise Risk Manageme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3416489" cy="388341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benefit of Enterprise Risk Management is that it aligns organization, people, processes and infrastructure, provides a benchmark for risk / reward, aids risk visibility to operational activities and for the more mature benefit, a competitive advantage.</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120" name="Circle">
            <a:extLst>
              <a:ext uri="{FF2B5EF4-FFF2-40B4-BE49-F238E27FC236}">
                <a16:creationId xmlns:a16="http://schemas.microsoft.com/office/drawing/2014/main" xmlns="" id="{F40437DF-191B-4DC0-86AA-88E0664AC045}"/>
              </a:ext>
            </a:extLst>
          </p:cNvPr>
          <p:cNvSpPr/>
          <p:nvPr/>
        </p:nvSpPr>
        <p:spPr>
          <a:xfrm flipV="1">
            <a:off x="7024890" y="2743128"/>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21" name="Circle">
            <a:extLst>
              <a:ext uri="{FF2B5EF4-FFF2-40B4-BE49-F238E27FC236}">
                <a16:creationId xmlns:a16="http://schemas.microsoft.com/office/drawing/2014/main" xmlns="" id="{0B9C8D75-5E1F-47DB-BE9F-B94942F0B469}"/>
              </a:ext>
            </a:extLst>
          </p:cNvPr>
          <p:cNvSpPr/>
          <p:nvPr/>
        </p:nvSpPr>
        <p:spPr>
          <a:xfrm flipV="1">
            <a:off x="7024890" y="3752480"/>
            <a:ext cx="129333" cy="129333"/>
          </a:xfrm>
          <a:prstGeom prst="diamond">
            <a:avLst/>
          </a:prstGeom>
          <a:solidFill>
            <a:schemeClr val="accent2"/>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23" name="Subtitle 2">
            <a:extLst>
              <a:ext uri="{FF2B5EF4-FFF2-40B4-BE49-F238E27FC236}">
                <a16:creationId xmlns:a16="http://schemas.microsoft.com/office/drawing/2014/main" xmlns="" id="{3D655CBB-E809-4EE7-A175-CBFD4507899E}"/>
              </a:ext>
            </a:extLst>
          </p:cNvPr>
          <p:cNvSpPr txBox="1">
            <a:spLocks/>
          </p:cNvSpPr>
          <p:nvPr/>
        </p:nvSpPr>
        <p:spPr>
          <a:xfrm>
            <a:off x="7232741" y="2247855"/>
            <a:ext cx="4676230"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RM enables you to </a:t>
            </a:r>
            <a:r>
              <a:rPr lang="en-GB" sz="2000" dirty="0" err="1">
                <a:solidFill>
                  <a:schemeClr val="tx1"/>
                </a:solidFill>
                <a:latin typeface="+mj-lt"/>
                <a:ea typeface="Lato Light" panose="020F0502020204030203" pitchFamily="34" charset="0"/>
                <a:cs typeface="Mukta ExtraLight" panose="020B0000000000000000" pitchFamily="34" charset="77"/>
              </a:rPr>
              <a:t>analyze</a:t>
            </a:r>
            <a:r>
              <a:rPr lang="en-GB" sz="2000" dirty="0">
                <a:solidFill>
                  <a:schemeClr val="tx1"/>
                </a:solidFill>
                <a:latin typeface="+mj-lt"/>
                <a:ea typeface="Lato Light" panose="020F0502020204030203" pitchFamily="34" charset="0"/>
                <a:cs typeface="Mukta ExtraLight" panose="020B0000000000000000" pitchFamily="34" charset="77"/>
              </a:rPr>
              <a:t> risks across your company. It is standardized throughout all functions of your  company and allows to compare and prioritize risks </a:t>
            </a:r>
          </a:p>
        </p:txBody>
      </p:sp>
      <p:sp>
        <p:nvSpPr>
          <p:cNvPr id="125" name="Subtitle 2">
            <a:extLst>
              <a:ext uri="{FF2B5EF4-FFF2-40B4-BE49-F238E27FC236}">
                <a16:creationId xmlns:a16="http://schemas.microsoft.com/office/drawing/2014/main" xmlns="" id="{262C86DE-342F-4BDE-8FD0-9AD6359F3184}"/>
              </a:ext>
            </a:extLst>
          </p:cNvPr>
          <p:cNvSpPr txBox="1">
            <a:spLocks/>
          </p:cNvSpPr>
          <p:nvPr/>
        </p:nvSpPr>
        <p:spPr>
          <a:xfrm>
            <a:off x="7232741" y="3567679"/>
            <a:ext cx="4213737"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RM allows you to manage risks in an integrated manner – rather than separate risk silos</a:t>
            </a:r>
          </a:p>
        </p:txBody>
      </p:sp>
      <p:sp>
        <p:nvSpPr>
          <p:cNvPr id="126" name="Circle">
            <a:extLst>
              <a:ext uri="{FF2B5EF4-FFF2-40B4-BE49-F238E27FC236}">
                <a16:creationId xmlns:a16="http://schemas.microsoft.com/office/drawing/2014/main" xmlns="" id="{FA163A95-20F6-4D30-AF4D-46D8831B92A3}"/>
              </a:ext>
            </a:extLst>
          </p:cNvPr>
          <p:cNvSpPr/>
          <p:nvPr/>
        </p:nvSpPr>
        <p:spPr>
          <a:xfrm flipV="1">
            <a:off x="7044327" y="4745775"/>
            <a:ext cx="129333" cy="129333"/>
          </a:xfrm>
          <a:prstGeom prst="diamond">
            <a:avLst/>
          </a:prstGeom>
          <a:solidFill>
            <a:srgbClr val="A5A5A5"/>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27" name="Subtitle 2">
            <a:extLst>
              <a:ext uri="{FF2B5EF4-FFF2-40B4-BE49-F238E27FC236}">
                <a16:creationId xmlns:a16="http://schemas.microsoft.com/office/drawing/2014/main" xmlns="" id="{70BCD4FE-C7D3-4300-9925-C3D68E95B42A}"/>
              </a:ext>
            </a:extLst>
          </p:cNvPr>
          <p:cNvSpPr txBox="1">
            <a:spLocks/>
          </p:cNvSpPr>
          <p:nvPr/>
        </p:nvSpPr>
        <p:spPr>
          <a:xfrm>
            <a:off x="7232740" y="4643029"/>
            <a:ext cx="4213737"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RM elevates Risk Management as a strategic partner in achieving your goals and objectives</a:t>
            </a:r>
          </a:p>
        </p:txBody>
      </p:sp>
      <p:sp>
        <p:nvSpPr>
          <p:cNvPr id="122" name="Freeform 34">
            <a:extLst>
              <a:ext uri="{FF2B5EF4-FFF2-40B4-BE49-F238E27FC236}">
                <a16:creationId xmlns:a16="http://schemas.microsoft.com/office/drawing/2014/main" xmlns="" id="{C11EDDF9-C4D9-48EF-BEAF-239E399365B8}"/>
              </a:ext>
            </a:extLst>
          </p:cNvPr>
          <p:cNvSpPr>
            <a:spLocks noChangeArrowheads="1"/>
          </p:cNvSpPr>
          <p:nvPr/>
        </p:nvSpPr>
        <p:spPr bwMode="auto">
          <a:xfrm>
            <a:off x="4322737" y="3429000"/>
            <a:ext cx="1407419" cy="2285254"/>
          </a:xfrm>
          <a:custGeom>
            <a:avLst/>
            <a:gdLst>
              <a:gd name="T0" fmla="*/ 1024 w 3014"/>
              <a:gd name="T1" fmla="*/ 1330 h 4890"/>
              <a:gd name="T2" fmla="*/ 1024 w 3014"/>
              <a:gd name="T3" fmla="*/ 500 h 4890"/>
              <a:gd name="T4" fmla="*/ 761 w 3014"/>
              <a:gd name="T5" fmla="*/ 263 h 4890"/>
              <a:gd name="T6" fmla="*/ 761 w 3014"/>
              <a:gd name="T7" fmla="*/ 263 h 4890"/>
              <a:gd name="T8" fmla="*/ 0 w 3014"/>
              <a:gd name="T9" fmla="*/ 603 h 4890"/>
              <a:gd name="T10" fmla="*/ 0 w 3014"/>
              <a:gd name="T11" fmla="*/ 4285 h 4890"/>
              <a:gd name="T12" fmla="*/ 0 w 3014"/>
              <a:gd name="T13" fmla="*/ 4285 h 4890"/>
              <a:gd name="T14" fmla="*/ 761 w 3014"/>
              <a:gd name="T15" fmla="*/ 4626 h 4890"/>
              <a:gd name="T16" fmla="*/ 2049 w 3014"/>
              <a:gd name="T17" fmla="*/ 3469 h 4890"/>
              <a:gd name="T18" fmla="*/ 2811 w 3014"/>
              <a:gd name="T19" fmla="*/ 2783 h 4890"/>
              <a:gd name="T20" fmla="*/ 2811 w 3014"/>
              <a:gd name="T21" fmla="*/ 2783 h 4890"/>
              <a:gd name="T22" fmla="*/ 2811 w 3014"/>
              <a:gd name="T23" fmla="*/ 2105 h 4890"/>
              <a:gd name="T24" fmla="*/ 2056 w 3014"/>
              <a:gd name="T25" fmla="*/ 1426 h 4890"/>
              <a:gd name="T26" fmla="*/ 1785 w 3014"/>
              <a:gd name="T27" fmla="*/ 1669 h 4890"/>
              <a:gd name="T28" fmla="*/ 1785 w 3014"/>
              <a:gd name="T29" fmla="*/ 1669 h 4890"/>
              <a:gd name="T30" fmla="*/ 1024 w 3014"/>
              <a:gd name="T31" fmla="*/ 1330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4" h="4890">
                <a:moveTo>
                  <a:pt x="1024" y="1330"/>
                </a:moveTo>
                <a:lnTo>
                  <a:pt x="1024" y="500"/>
                </a:lnTo>
                <a:lnTo>
                  <a:pt x="761" y="263"/>
                </a:lnTo>
                <a:lnTo>
                  <a:pt x="761" y="263"/>
                </a:lnTo>
                <a:cubicBezTo>
                  <a:pt x="467" y="0"/>
                  <a:pt x="0" y="208"/>
                  <a:pt x="0" y="603"/>
                </a:cubicBezTo>
                <a:lnTo>
                  <a:pt x="0" y="4285"/>
                </a:lnTo>
                <a:lnTo>
                  <a:pt x="0" y="4285"/>
                </a:lnTo>
                <a:cubicBezTo>
                  <a:pt x="0" y="4680"/>
                  <a:pt x="467" y="4889"/>
                  <a:pt x="761" y="4626"/>
                </a:cubicBezTo>
                <a:lnTo>
                  <a:pt x="2049" y="3469"/>
                </a:lnTo>
                <a:lnTo>
                  <a:pt x="2811" y="2783"/>
                </a:lnTo>
                <a:lnTo>
                  <a:pt x="2811" y="2783"/>
                </a:lnTo>
                <a:cubicBezTo>
                  <a:pt x="3013" y="2602"/>
                  <a:pt x="3013" y="2286"/>
                  <a:pt x="2811" y="2105"/>
                </a:cubicBezTo>
                <a:lnTo>
                  <a:pt x="2056" y="1426"/>
                </a:lnTo>
                <a:lnTo>
                  <a:pt x="1785" y="1669"/>
                </a:lnTo>
                <a:lnTo>
                  <a:pt x="1785" y="1669"/>
                </a:lnTo>
                <a:cubicBezTo>
                  <a:pt x="1491" y="1933"/>
                  <a:pt x="1024" y="1725"/>
                  <a:pt x="1024" y="1330"/>
                </a:cubicBezTo>
              </a:path>
            </a:pathLst>
          </a:custGeom>
          <a:solidFill>
            <a:schemeClr val="accent3"/>
          </a:solidFill>
          <a:ln>
            <a:noFill/>
          </a:ln>
          <a:effectLst/>
        </p:spPr>
        <p:txBody>
          <a:bodyPr wrap="none" anchor="ctr"/>
          <a:lstStyle/>
          <a:p>
            <a:endParaRPr lang="en-GB" sz="2449" dirty="0"/>
          </a:p>
        </p:txBody>
      </p:sp>
      <p:sp>
        <p:nvSpPr>
          <p:cNvPr id="124" name="Freeform 35">
            <a:extLst>
              <a:ext uri="{FF2B5EF4-FFF2-40B4-BE49-F238E27FC236}">
                <a16:creationId xmlns:a16="http://schemas.microsoft.com/office/drawing/2014/main" xmlns="" id="{31265CB7-27B4-496B-895E-8759C4AA4118}"/>
              </a:ext>
            </a:extLst>
          </p:cNvPr>
          <p:cNvSpPr>
            <a:spLocks noChangeArrowheads="1"/>
          </p:cNvSpPr>
          <p:nvPr/>
        </p:nvSpPr>
        <p:spPr bwMode="auto">
          <a:xfrm>
            <a:off x="4800806" y="2048368"/>
            <a:ext cx="1409479" cy="2285254"/>
          </a:xfrm>
          <a:custGeom>
            <a:avLst/>
            <a:gdLst>
              <a:gd name="T0" fmla="*/ 1025 w 3015"/>
              <a:gd name="T1" fmla="*/ 3558 h 4889"/>
              <a:gd name="T2" fmla="*/ 1025 w 3015"/>
              <a:gd name="T3" fmla="*/ 3558 h 4889"/>
              <a:gd name="T4" fmla="*/ 1785 w 3015"/>
              <a:gd name="T5" fmla="*/ 3218 h 4889"/>
              <a:gd name="T6" fmla="*/ 2055 w 3015"/>
              <a:gd name="T7" fmla="*/ 3462 h 4889"/>
              <a:gd name="T8" fmla="*/ 2811 w 3015"/>
              <a:gd name="T9" fmla="*/ 2784 h 4889"/>
              <a:gd name="T10" fmla="*/ 2811 w 3015"/>
              <a:gd name="T11" fmla="*/ 2784 h 4889"/>
              <a:gd name="T12" fmla="*/ 2811 w 3015"/>
              <a:gd name="T13" fmla="*/ 2105 h 4889"/>
              <a:gd name="T14" fmla="*/ 761 w 3015"/>
              <a:gd name="T15" fmla="*/ 264 h 4889"/>
              <a:gd name="T16" fmla="*/ 761 w 3015"/>
              <a:gd name="T17" fmla="*/ 264 h 4889"/>
              <a:gd name="T18" fmla="*/ 0 w 3015"/>
              <a:gd name="T19" fmla="*/ 603 h 4889"/>
              <a:gd name="T20" fmla="*/ 0 w 3015"/>
              <a:gd name="T21" fmla="*/ 3455 h 4889"/>
              <a:gd name="T22" fmla="*/ 0 w 3015"/>
              <a:gd name="T23" fmla="*/ 4285 h 4889"/>
              <a:gd name="T24" fmla="*/ 0 w 3015"/>
              <a:gd name="T25" fmla="*/ 4285 h 4889"/>
              <a:gd name="T26" fmla="*/ 761 w 3015"/>
              <a:gd name="T27" fmla="*/ 4624 h 4889"/>
              <a:gd name="T28" fmla="*/ 1032 w 3015"/>
              <a:gd name="T29" fmla="*/ 4381 h 4889"/>
              <a:gd name="T30" fmla="*/ 1025 w 3015"/>
              <a:gd name="T31" fmla="*/ 4375 h 4889"/>
              <a:gd name="T32" fmla="*/ 1025 w 3015"/>
              <a:gd name="T33" fmla="*/ 3558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5" h="4889">
                <a:moveTo>
                  <a:pt x="1025" y="3558"/>
                </a:moveTo>
                <a:lnTo>
                  <a:pt x="1025" y="3558"/>
                </a:lnTo>
                <a:cubicBezTo>
                  <a:pt x="1025" y="3163"/>
                  <a:pt x="1492" y="2955"/>
                  <a:pt x="1785" y="3218"/>
                </a:cubicBezTo>
                <a:lnTo>
                  <a:pt x="2055" y="3462"/>
                </a:lnTo>
                <a:lnTo>
                  <a:pt x="2811" y="2784"/>
                </a:lnTo>
                <a:lnTo>
                  <a:pt x="2811" y="2784"/>
                </a:lnTo>
                <a:cubicBezTo>
                  <a:pt x="3014" y="2603"/>
                  <a:pt x="3014" y="2286"/>
                  <a:pt x="2811" y="2105"/>
                </a:cubicBezTo>
                <a:lnTo>
                  <a:pt x="761" y="264"/>
                </a:lnTo>
                <a:lnTo>
                  <a:pt x="761" y="264"/>
                </a:lnTo>
                <a:cubicBezTo>
                  <a:pt x="467" y="0"/>
                  <a:pt x="0" y="208"/>
                  <a:pt x="0" y="603"/>
                </a:cubicBezTo>
                <a:lnTo>
                  <a:pt x="0" y="3455"/>
                </a:lnTo>
                <a:lnTo>
                  <a:pt x="0" y="4285"/>
                </a:lnTo>
                <a:lnTo>
                  <a:pt x="0" y="4285"/>
                </a:lnTo>
                <a:cubicBezTo>
                  <a:pt x="0" y="4680"/>
                  <a:pt x="467" y="4888"/>
                  <a:pt x="761" y="4624"/>
                </a:cubicBezTo>
                <a:lnTo>
                  <a:pt x="1032" y="4381"/>
                </a:lnTo>
                <a:lnTo>
                  <a:pt x="1025" y="4375"/>
                </a:lnTo>
                <a:lnTo>
                  <a:pt x="1025" y="3558"/>
                </a:lnTo>
              </a:path>
            </a:pathLst>
          </a:custGeom>
          <a:solidFill>
            <a:schemeClr val="accent1"/>
          </a:solidFill>
          <a:ln>
            <a:noFill/>
          </a:ln>
          <a:effectLst/>
        </p:spPr>
        <p:txBody>
          <a:bodyPr wrap="none" anchor="ctr"/>
          <a:lstStyle/>
          <a:p>
            <a:endParaRPr lang="en-GB" sz="2449" dirty="0"/>
          </a:p>
        </p:txBody>
      </p:sp>
      <p:sp>
        <p:nvSpPr>
          <p:cNvPr id="128" name="Freeform 36">
            <a:extLst>
              <a:ext uri="{FF2B5EF4-FFF2-40B4-BE49-F238E27FC236}">
                <a16:creationId xmlns:a16="http://schemas.microsoft.com/office/drawing/2014/main" xmlns="" id="{B5A68E86-B953-4C0F-8EE7-0F99CE0BB886}"/>
              </a:ext>
            </a:extLst>
          </p:cNvPr>
          <p:cNvSpPr>
            <a:spLocks noChangeArrowheads="1"/>
          </p:cNvSpPr>
          <p:nvPr/>
        </p:nvSpPr>
        <p:spPr bwMode="auto">
          <a:xfrm>
            <a:off x="5280936" y="3428998"/>
            <a:ext cx="1407421" cy="2285254"/>
          </a:xfrm>
          <a:custGeom>
            <a:avLst/>
            <a:gdLst>
              <a:gd name="T0" fmla="*/ 2811 w 3014"/>
              <a:gd name="T1" fmla="*/ 2105 h 4890"/>
              <a:gd name="T2" fmla="*/ 1030 w 3014"/>
              <a:gd name="T3" fmla="*/ 507 h 4890"/>
              <a:gd name="T4" fmla="*/ 760 w 3014"/>
              <a:gd name="T5" fmla="*/ 263 h 4890"/>
              <a:gd name="T6" fmla="*/ 760 w 3014"/>
              <a:gd name="T7" fmla="*/ 263 h 4890"/>
              <a:gd name="T8" fmla="*/ 0 w 3014"/>
              <a:gd name="T9" fmla="*/ 603 h 4890"/>
              <a:gd name="T10" fmla="*/ 0 w 3014"/>
              <a:gd name="T11" fmla="*/ 1420 h 4890"/>
              <a:gd name="T12" fmla="*/ 7 w 3014"/>
              <a:gd name="T13" fmla="*/ 1426 h 4890"/>
              <a:gd name="T14" fmla="*/ 762 w 3014"/>
              <a:gd name="T15" fmla="*/ 2105 h 4890"/>
              <a:gd name="T16" fmla="*/ 762 w 3014"/>
              <a:gd name="T17" fmla="*/ 2105 h 4890"/>
              <a:gd name="T18" fmla="*/ 762 w 3014"/>
              <a:gd name="T19" fmla="*/ 2783 h 4890"/>
              <a:gd name="T20" fmla="*/ 0 w 3014"/>
              <a:gd name="T21" fmla="*/ 3469 h 4890"/>
              <a:gd name="T22" fmla="*/ 0 w 3014"/>
              <a:gd name="T23" fmla="*/ 4285 h 4890"/>
              <a:gd name="T24" fmla="*/ 0 w 3014"/>
              <a:gd name="T25" fmla="*/ 4285 h 4890"/>
              <a:gd name="T26" fmla="*/ 760 w 3014"/>
              <a:gd name="T27" fmla="*/ 4626 h 4890"/>
              <a:gd name="T28" fmla="*/ 2811 w 3014"/>
              <a:gd name="T29" fmla="*/ 2783 h 4890"/>
              <a:gd name="T30" fmla="*/ 2811 w 3014"/>
              <a:gd name="T31" fmla="*/ 2783 h 4890"/>
              <a:gd name="T32" fmla="*/ 2811 w 3014"/>
              <a:gd name="T33" fmla="*/ 2105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4" h="4890">
                <a:moveTo>
                  <a:pt x="2811" y="2105"/>
                </a:moveTo>
                <a:lnTo>
                  <a:pt x="1030" y="507"/>
                </a:lnTo>
                <a:lnTo>
                  <a:pt x="760" y="263"/>
                </a:lnTo>
                <a:lnTo>
                  <a:pt x="760" y="263"/>
                </a:lnTo>
                <a:cubicBezTo>
                  <a:pt x="467" y="0"/>
                  <a:pt x="0" y="208"/>
                  <a:pt x="0" y="603"/>
                </a:cubicBezTo>
                <a:lnTo>
                  <a:pt x="0" y="1420"/>
                </a:lnTo>
                <a:lnTo>
                  <a:pt x="7" y="1426"/>
                </a:lnTo>
                <a:lnTo>
                  <a:pt x="762" y="2105"/>
                </a:lnTo>
                <a:lnTo>
                  <a:pt x="762" y="2105"/>
                </a:lnTo>
                <a:cubicBezTo>
                  <a:pt x="964" y="2286"/>
                  <a:pt x="964" y="2602"/>
                  <a:pt x="762" y="2783"/>
                </a:cubicBezTo>
                <a:lnTo>
                  <a:pt x="0" y="3469"/>
                </a:lnTo>
                <a:lnTo>
                  <a:pt x="0" y="4285"/>
                </a:lnTo>
                <a:lnTo>
                  <a:pt x="0" y="4285"/>
                </a:lnTo>
                <a:cubicBezTo>
                  <a:pt x="0" y="4680"/>
                  <a:pt x="467" y="4889"/>
                  <a:pt x="760" y="4626"/>
                </a:cubicBezTo>
                <a:lnTo>
                  <a:pt x="2811" y="2783"/>
                </a:lnTo>
                <a:lnTo>
                  <a:pt x="2811" y="2783"/>
                </a:lnTo>
                <a:cubicBezTo>
                  <a:pt x="3013" y="2602"/>
                  <a:pt x="3013" y="2286"/>
                  <a:pt x="2811" y="2105"/>
                </a:cubicBezTo>
              </a:path>
            </a:pathLst>
          </a:custGeom>
          <a:solidFill>
            <a:schemeClr val="accent2"/>
          </a:solidFill>
          <a:ln>
            <a:noFill/>
          </a:ln>
          <a:effectLst/>
        </p:spPr>
        <p:txBody>
          <a:bodyPr wrap="none" anchor="ctr"/>
          <a:lstStyle/>
          <a:p>
            <a:endParaRPr lang="en-GB" sz="2449" dirty="0"/>
          </a:p>
        </p:txBody>
      </p:sp>
      <p:sp>
        <p:nvSpPr>
          <p:cNvPr id="129" name="TextBox 11">
            <a:extLst>
              <a:ext uri="{FF2B5EF4-FFF2-40B4-BE49-F238E27FC236}">
                <a16:creationId xmlns:a16="http://schemas.microsoft.com/office/drawing/2014/main" xmlns="" id="{AE2AD51B-BFD7-47FA-A642-BA94C066D655}"/>
              </a:ext>
            </a:extLst>
          </p:cNvPr>
          <p:cNvSpPr txBox="1"/>
          <p:nvPr/>
        </p:nvSpPr>
        <p:spPr>
          <a:xfrm>
            <a:off x="5113211" y="2774927"/>
            <a:ext cx="500906" cy="784958"/>
          </a:xfrm>
          <a:prstGeom prst="rect">
            <a:avLst/>
          </a:prstGeom>
          <a:noFill/>
        </p:spPr>
        <p:txBody>
          <a:bodyPr wrap="none" rtlCol="0" anchor="ctr">
            <a:spAutoFit/>
          </a:bodyPr>
          <a:lstStyle/>
          <a:p>
            <a:pPr algn="ctr"/>
            <a:r>
              <a:rPr lang="en-GB" sz="4501" b="1" spc="-109" dirty="0">
                <a:solidFill>
                  <a:schemeClr val="bg1"/>
                </a:solidFill>
                <a:latin typeface="Source Sans Pro" panose="020B0503030403020204" pitchFamily="34" charset="0"/>
                <a:ea typeface="Source Sans Pro" panose="020B0503030403020204" pitchFamily="34" charset="0"/>
              </a:rPr>
              <a:t>A</a:t>
            </a:r>
          </a:p>
        </p:txBody>
      </p:sp>
      <p:sp>
        <p:nvSpPr>
          <p:cNvPr id="130" name="TextBox 12">
            <a:extLst>
              <a:ext uri="{FF2B5EF4-FFF2-40B4-BE49-F238E27FC236}">
                <a16:creationId xmlns:a16="http://schemas.microsoft.com/office/drawing/2014/main" xmlns="" id="{8BDA69D1-E2B3-492D-9881-62081A2A0604}"/>
              </a:ext>
            </a:extLst>
          </p:cNvPr>
          <p:cNvSpPr txBox="1"/>
          <p:nvPr/>
        </p:nvSpPr>
        <p:spPr>
          <a:xfrm>
            <a:off x="5863068" y="4156685"/>
            <a:ext cx="520142" cy="784958"/>
          </a:xfrm>
          <a:prstGeom prst="rect">
            <a:avLst/>
          </a:prstGeom>
          <a:noFill/>
        </p:spPr>
        <p:txBody>
          <a:bodyPr wrap="none" rtlCol="0" anchor="ctr">
            <a:spAutoFit/>
          </a:bodyPr>
          <a:lstStyle/>
          <a:p>
            <a:pPr algn="ctr"/>
            <a:r>
              <a:rPr lang="en-GB" sz="4501" b="1" spc="-109" dirty="0">
                <a:solidFill>
                  <a:schemeClr val="bg1"/>
                </a:solidFill>
                <a:latin typeface="Source Sans Pro" panose="020B0503030403020204" pitchFamily="34" charset="0"/>
                <a:ea typeface="Source Sans Pro" panose="020B0503030403020204" pitchFamily="34" charset="0"/>
              </a:rPr>
              <a:t>B</a:t>
            </a:r>
          </a:p>
        </p:txBody>
      </p:sp>
      <p:sp>
        <p:nvSpPr>
          <p:cNvPr id="131" name="TextBox 13">
            <a:extLst>
              <a:ext uri="{FF2B5EF4-FFF2-40B4-BE49-F238E27FC236}">
                <a16:creationId xmlns:a16="http://schemas.microsoft.com/office/drawing/2014/main" xmlns="" id="{16B5284E-255F-4C56-81E2-1CEB5962F559}"/>
              </a:ext>
            </a:extLst>
          </p:cNvPr>
          <p:cNvSpPr txBox="1"/>
          <p:nvPr/>
        </p:nvSpPr>
        <p:spPr>
          <a:xfrm>
            <a:off x="4620019" y="4151785"/>
            <a:ext cx="507318" cy="784958"/>
          </a:xfrm>
          <a:prstGeom prst="rect">
            <a:avLst/>
          </a:prstGeom>
          <a:noFill/>
        </p:spPr>
        <p:txBody>
          <a:bodyPr wrap="none" rtlCol="0" anchor="ctr">
            <a:spAutoFit/>
          </a:bodyPr>
          <a:lstStyle/>
          <a:p>
            <a:pPr algn="ctr"/>
            <a:r>
              <a:rPr lang="en-GB" sz="4501" b="1" spc="-109" dirty="0">
                <a:solidFill>
                  <a:schemeClr val="bg1"/>
                </a:solidFill>
                <a:latin typeface="Source Sans Pro" panose="020B0503030403020204" pitchFamily="34" charset="0"/>
                <a:ea typeface="Source Sans Pro" panose="020B0503030403020204" pitchFamily="34" charset="0"/>
              </a:rPr>
              <a:t>C</a:t>
            </a:r>
          </a:p>
        </p:txBody>
      </p:sp>
    </p:spTree>
    <p:extLst>
      <p:ext uri="{BB962C8B-B14F-4D97-AF65-F5344CB8AC3E}">
        <p14:creationId xmlns:p14="http://schemas.microsoft.com/office/powerpoint/2010/main" val="22228220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215" y="481910"/>
            <a:ext cx="8852375" cy="697353"/>
          </a:xfrm>
        </p:spPr>
        <p:txBody>
          <a:bodyPr>
            <a:normAutofit/>
          </a:bodyPr>
          <a:lstStyle/>
          <a:p>
            <a:r>
              <a:rPr lang="en-GB" dirty="0"/>
              <a:t>Brainstorming Risk Area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2520436" cy="286775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dentifying Risk Areas usually starts with a Brainstorming exercise.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t is important to integrate the right team members or ask for external help.</a:t>
            </a:r>
          </a:p>
        </p:txBody>
      </p:sp>
      <p:grpSp>
        <p:nvGrpSpPr>
          <p:cNvPr id="28" name="Group 88">
            <a:extLst>
              <a:ext uri="{FF2B5EF4-FFF2-40B4-BE49-F238E27FC236}">
                <a16:creationId xmlns:a16="http://schemas.microsoft.com/office/drawing/2014/main" xmlns="" id="{D7EF0734-E158-4DAB-8FFE-A46AE4CBAA79}"/>
              </a:ext>
            </a:extLst>
          </p:cNvPr>
          <p:cNvGrpSpPr/>
          <p:nvPr/>
        </p:nvGrpSpPr>
        <p:grpSpPr>
          <a:xfrm>
            <a:off x="4932457" y="2100582"/>
            <a:ext cx="4462181" cy="3780896"/>
            <a:chOff x="7034500" y="2593161"/>
            <a:chExt cx="10358529" cy="8776991"/>
          </a:xfrm>
        </p:grpSpPr>
        <p:sp>
          <p:nvSpPr>
            <p:cNvPr id="29" name="Freeform 68">
              <a:extLst>
                <a:ext uri="{FF2B5EF4-FFF2-40B4-BE49-F238E27FC236}">
                  <a16:creationId xmlns:a16="http://schemas.microsoft.com/office/drawing/2014/main" xmlns="" id="{E913ED5F-4406-401F-969A-4DC8885D72EB}"/>
                </a:ext>
              </a:extLst>
            </p:cNvPr>
            <p:cNvSpPr/>
            <p:nvPr/>
          </p:nvSpPr>
          <p:spPr>
            <a:xfrm>
              <a:off x="12305205" y="2593161"/>
              <a:ext cx="3506287" cy="3064282"/>
            </a:xfrm>
            <a:custGeom>
              <a:avLst/>
              <a:gdLst>
                <a:gd name="connsiteX0" fmla="*/ 0 w 3506287"/>
                <a:gd name="connsiteY0" fmla="*/ 0 h 3064282"/>
                <a:gd name="connsiteX1" fmla="*/ 175203 w 3506287"/>
                <a:gd name="connsiteY1" fmla="*/ 4430 h 3064282"/>
                <a:gd name="connsiteX2" fmla="*/ 3392535 w 3506287"/>
                <a:gd name="connsiteY2" fmla="*/ 1343768 h 3064282"/>
                <a:gd name="connsiteX3" fmla="*/ 3506287 w 3506287"/>
                <a:gd name="connsiteY3" fmla="*/ 1452221 h 3064282"/>
                <a:gd name="connsiteX4" fmla="*/ 1894225 w 3506287"/>
                <a:gd name="connsiteY4" fmla="*/ 3064282 h 3064282"/>
                <a:gd name="connsiteX5" fmla="*/ 1755749 w 3506287"/>
                <a:gd name="connsiteY5" fmla="*/ 2938426 h 3064282"/>
                <a:gd name="connsiteX6" fmla="*/ 57997 w 3506287"/>
                <a:gd name="connsiteY6" fmla="*/ 2279081 h 3064282"/>
                <a:gd name="connsiteX7" fmla="*/ 0 w 3506287"/>
                <a:gd name="connsiteY7" fmla="*/ 2277615 h 3064282"/>
                <a:gd name="connsiteX8" fmla="*/ 0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0" y="0"/>
                  </a:moveTo>
                  <a:lnTo>
                    <a:pt x="175203" y="4430"/>
                  </a:lnTo>
                  <a:cubicBezTo>
                    <a:pt x="1411624" y="67105"/>
                    <a:pt x="2533699" y="563182"/>
                    <a:pt x="3392535" y="1343768"/>
                  </a:cubicBezTo>
                  <a:lnTo>
                    <a:pt x="3506287" y="1452221"/>
                  </a:lnTo>
                  <a:lnTo>
                    <a:pt x="1894225" y="3064282"/>
                  </a:lnTo>
                  <a:lnTo>
                    <a:pt x="1755749" y="2938426"/>
                  </a:lnTo>
                  <a:cubicBezTo>
                    <a:pt x="1289628" y="2553749"/>
                    <a:pt x="701440" y="2311697"/>
                    <a:pt x="57997" y="2279081"/>
                  </a:cubicBezTo>
                  <a:lnTo>
                    <a:pt x="0" y="2277615"/>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0" name="Freeform 67">
              <a:extLst>
                <a:ext uri="{FF2B5EF4-FFF2-40B4-BE49-F238E27FC236}">
                  <a16:creationId xmlns:a16="http://schemas.microsoft.com/office/drawing/2014/main" xmlns="" id="{47FCF92C-34D2-41D3-A541-ED6E5590FD2C}"/>
                </a:ext>
              </a:extLst>
            </p:cNvPr>
            <p:cNvSpPr/>
            <p:nvPr/>
          </p:nvSpPr>
          <p:spPr>
            <a:xfrm>
              <a:off x="8616037" y="2593161"/>
              <a:ext cx="3506287" cy="3064282"/>
            </a:xfrm>
            <a:custGeom>
              <a:avLst/>
              <a:gdLst>
                <a:gd name="connsiteX0" fmla="*/ 3506287 w 3506287"/>
                <a:gd name="connsiteY0" fmla="*/ 0 h 3064282"/>
                <a:gd name="connsiteX1" fmla="*/ 3506287 w 3506287"/>
                <a:gd name="connsiteY1" fmla="*/ 2277615 h 3064282"/>
                <a:gd name="connsiteX2" fmla="*/ 3448289 w 3506287"/>
                <a:gd name="connsiteY2" fmla="*/ 2279081 h 3064282"/>
                <a:gd name="connsiteX3" fmla="*/ 1750537 w 3506287"/>
                <a:gd name="connsiteY3" fmla="*/ 2938426 h 3064282"/>
                <a:gd name="connsiteX4" fmla="*/ 1612061 w 3506287"/>
                <a:gd name="connsiteY4" fmla="*/ 3064282 h 3064282"/>
                <a:gd name="connsiteX5" fmla="*/ 0 w 3506287"/>
                <a:gd name="connsiteY5" fmla="*/ 1452222 h 3064282"/>
                <a:gd name="connsiteX6" fmla="*/ 113753 w 3506287"/>
                <a:gd name="connsiteY6" fmla="*/ 1343768 h 3064282"/>
                <a:gd name="connsiteX7" fmla="*/ 3331085 w 3506287"/>
                <a:gd name="connsiteY7" fmla="*/ 4430 h 3064282"/>
                <a:gd name="connsiteX8" fmla="*/ 3506287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3506287" y="0"/>
                  </a:moveTo>
                  <a:lnTo>
                    <a:pt x="3506287" y="2277615"/>
                  </a:lnTo>
                  <a:lnTo>
                    <a:pt x="3448289" y="2279081"/>
                  </a:lnTo>
                  <a:cubicBezTo>
                    <a:pt x="2804846" y="2311697"/>
                    <a:pt x="2216658" y="2553749"/>
                    <a:pt x="1750537" y="2938426"/>
                  </a:cubicBezTo>
                  <a:lnTo>
                    <a:pt x="1612061" y="3064282"/>
                  </a:lnTo>
                  <a:lnTo>
                    <a:pt x="0" y="1452222"/>
                  </a:lnTo>
                  <a:lnTo>
                    <a:pt x="113753" y="1343768"/>
                  </a:lnTo>
                  <a:cubicBezTo>
                    <a:pt x="972589" y="563182"/>
                    <a:pt x="2094664" y="67105"/>
                    <a:pt x="3331085" y="4430"/>
                  </a:cubicBezTo>
                  <a:lnTo>
                    <a:pt x="3506287"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1" name="Freeform 64">
              <a:extLst>
                <a:ext uri="{FF2B5EF4-FFF2-40B4-BE49-F238E27FC236}">
                  <a16:creationId xmlns:a16="http://schemas.microsoft.com/office/drawing/2014/main" xmlns="" id="{BBDF8FA0-1C14-4432-A251-9DB6E8269887}"/>
                </a:ext>
              </a:extLst>
            </p:cNvPr>
            <p:cNvSpPr/>
            <p:nvPr/>
          </p:nvSpPr>
          <p:spPr>
            <a:xfrm>
              <a:off x="14328744" y="4174698"/>
              <a:ext cx="3064284" cy="3506287"/>
            </a:xfrm>
            <a:custGeom>
              <a:avLst/>
              <a:gdLst>
                <a:gd name="connsiteX0" fmla="*/ 1612062 w 3064284"/>
                <a:gd name="connsiteY0" fmla="*/ 0 h 3506287"/>
                <a:gd name="connsiteX1" fmla="*/ 1720516 w 3064284"/>
                <a:gd name="connsiteY1" fmla="*/ 113753 h 3506287"/>
                <a:gd name="connsiteX2" fmla="*/ 3059854 w 3064284"/>
                <a:gd name="connsiteY2" fmla="*/ 3331085 h 3506287"/>
                <a:gd name="connsiteX3" fmla="*/ 3064284 w 3064284"/>
                <a:gd name="connsiteY3" fmla="*/ 3506287 h 3506287"/>
                <a:gd name="connsiteX4" fmla="*/ 786669 w 3064284"/>
                <a:gd name="connsiteY4" fmla="*/ 3506287 h 3506287"/>
                <a:gd name="connsiteX5" fmla="*/ 785202 w 3064284"/>
                <a:gd name="connsiteY5" fmla="*/ 3448290 h 3506287"/>
                <a:gd name="connsiteX6" fmla="*/ 125857 w 3064284"/>
                <a:gd name="connsiteY6" fmla="*/ 1750538 h 3506287"/>
                <a:gd name="connsiteX7" fmla="*/ 0 w 3064284"/>
                <a:gd name="connsiteY7" fmla="*/ 1612061 h 3506287"/>
                <a:gd name="connsiteX8" fmla="*/ 1612062 w 3064284"/>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4" h="3506287">
                  <a:moveTo>
                    <a:pt x="1612062" y="0"/>
                  </a:moveTo>
                  <a:lnTo>
                    <a:pt x="1720516" y="113753"/>
                  </a:lnTo>
                  <a:cubicBezTo>
                    <a:pt x="2501102" y="972590"/>
                    <a:pt x="2997180" y="2094665"/>
                    <a:pt x="3059854" y="3331085"/>
                  </a:cubicBezTo>
                  <a:lnTo>
                    <a:pt x="3064284" y="3506287"/>
                  </a:lnTo>
                  <a:lnTo>
                    <a:pt x="786669" y="3506287"/>
                  </a:lnTo>
                  <a:lnTo>
                    <a:pt x="785202" y="3448290"/>
                  </a:lnTo>
                  <a:cubicBezTo>
                    <a:pt x="752586" y="2804847"/>
                    <a:pt x="510534" y="2216659"/>
                    <a:pt x="125857" y="1750538"/>
                  </a:cubicBezTo>
                  <a:lnTo>
                    <a:pt x="0" y="1612061"/>
                  </a:lnTo>
                  <a:lnTo>
                    <a:pt x="1612062"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2" name="Freeform 63">
              <a:extLst>
                <a:ext uri="{FF2B5EF4-FFF2-40B4-BE49-F238E27FC236}">
                  <a16:creationId xmlns:a16="http://schemas.microsoft.com/office/drawing/2014/main" xmlns="" id="{00E3306C-EAF9-417E-B662-800F54539E46}"/>
                </a:ext>
              </a:extLst>
            </p:cNvPr>
            <p:cNvSpPr/>
            <p:nvPr/>
          </p:nvSpPr>
          <p:spPr>
            <a:xfrm>
              <a:off x="7034500" y="4174698"/>
              <a:ext cx="3064282" cy="3506286"/>
            </a:xfrm>
            <a:custGeom>
              <a:avLst/>
              <a:gdLst>
                <a:gd name="connsiteX0" fmla="*/ 1452221 w 3064282"/>
                <a:gd name="connsiteY0" fmla="*/ 0 h 3506286"/>
                <a:gd name="connsiteX1" fmla="*/ 3064282 w 3064282"/>
                <a:gd name="connsiteY1" fmla="*/ 1612060 h 3506286"/>
                <a:gd name="connsiteX2" fmla="*/ 2938425 w 3064282"/>
                <a:gd name="connsiteY2" fmla="*/ 1750537 h 3506286"/>
                <a:gd name="connsiteX3" fmla="*/ 2279080 w 3064282"/>
                <a:gd name="connsiteY3" fmla="*/ 3448289 h 3506286"/>
                <a:gd name="connsiteX4" fmla="*/ 2277613 w 3064282"/>
                <a:gd name="connsiteY4" fmla="*/ 3506286 h 3506286"/>
                <a:gd name="connsiteX5" fmla="*/ 0 w 3064282"/>
                <a:gd name="connsiteY5" fmla="*/ 3506286 h 3506286"/>
                <a:gd name="connsiteX6" fmla="*/ 4430 w 3064282"/>
                <a:gd name="connsiteY6" fmla="*/ 3331084 h 3506286"/>
                <a:gd name="connsiteX7" fmla="*/ 1343768 w 3064282"/>
                <a:gd name="connsiteY7" fmla="*/ 113752 h 3506286"/>
                <a:gd name="connsiteX8" fmla="*/ 1452221 w 3064282"/>
                <a:gd name="connsiteY8" fmla="*/ 0 h 350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2" h="3506286">
                  <a:moveTo>
                    <a:pt x="1452221" y="0"/>
                  </a:moveTo>
                  <a:lnTo>
                    <a:pt x="3064282" y="1612060"/>
                  </a:lnTo>
                  <a:lnTo>
                    <a:pt x="2938425" y="1750537"/>
                  </a:lnTo>
                  <a:cubicBezTo>
                    <a:pt x="2553748" y="2216658"/>
                    <a:pt x="2311696" y="2804846"/>
                    <a:pt x="2279080" y="3448289"/>
                  </a:cubicBezTo>
                  <a:lnTo>
                    <a:pt x="2277613" y="3506286"/>
                  </a:lnTo>
                  <a:lnTo>
                    <a:pt x="0" y="3506286"/>
                  </a:lnTo>
                  <a:lnTo>
                    <a:pt x="4430" y="3331084"/>
                  </a:lnTo>
                  <a:cubicBezTo>
                    <a:pt x="67105" y="2094664"/>
                    <a:pt x="563182" y="972589"/>
                    <a:pt x="1343768" y="113752"/>
                  </a:cubicBezTo>
                  <a:lnTo>
                    <a:pt x="1452221"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3" name="Freeform 59">
              <a:extLst>
                <a:ext uri="{FF2B5EF4-FFF2-40B4-BE49-F238E27FC236}">
                  <a16:creationId xmlns:a16="http://schemas.microsoft.com/office/drawing/2014/main" xmlns="" id="{683AE7AB-2F33-4997-A5EB-510D638D2980}"/>
                </a:ext>
              </a:extLst>
            </p:cNvPr>
            <p:cNvSpPr/>
            <p:nvPr/>
          </p:nvSpPr>
          <p:spPr>
            <a:xfrm>
              <a:off x="7034501" y="7863865"/>
              <a:ext cx="3064281" cy="3506287"/>
            </a:xfrm>
            <a:custGeom>
              <a:avLst/>
              <a:gdLst>
                <a:gd name="connsiteX0" fmla="*/ 0 w 3064281"/>
                <a:gd name="connsiteY0" fmla="*/ 0 h 3506287"/>
                <a:gd name="connsiteX1" fmla="*/ 2277613 w 3064281"/>
                <a:gd name="connsiteY1" fmla="*/ 0 h 3506287"/>
                <a:gd name="connsiteX2" fmla="*/ 2279080 w 3064281"/>
                <a:gd name="connsiteY2" fmla="*/ 57999 h 3506287"/>
                <a:gd name="connsiteX3" fmla="*/ 2938425 w 3064281"/>
                <a:gd name="connsiteY3" fmla="*/ 1755751 h 3506287"/>
                <a:gd name="connsiteX4" fmla="*/ 3064281 w 3064281"/>
                <a:gd name="connsiteY4" fmla="*/ 1894226 h 3506287"/>
                <a:gd name="connsiteX5" fmla="*/ 1452220 w 3064281"/>
                <a:gd name="connsiteY5" fmla="*/ 3506287 h 3506287"/>
                <a:gd name="connsiteX6" fmla="*/ 1343768 w 3064281"/>
                <a:gd name="connsiteY6" fmla="*/ 3392536 h 3506287"/>
                <a:gd name="connsiteX7" fmla="*/ 4430 w 3064281"/>
                <a:gd name="connsiteY7" fmla="*/ 175204 h 3506287"/>
                <a:gd name="connsiteX8" fmla="*/ 0 w 3064281"/>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1" h="3506287">
                  <a:moveTo>
                    <a:pt x="0" y="0"/>
                  </a:moveTo>
                  <a:lnTo>
                    <a:pt x="2277613" y="0"/>
                  </a:lnTo>
                  <a:lnTo>
                    <a:pt x="2279080" y="57999"/>
                  </a:lnTo>
                  <a:cubicBezTo>
                    <a:pt x="2311696" y="701442"/>
                    <a:pt x="2553748" y="1289630"/>
                    <a:pt x="2938425" y="1755751"/>
                  </a:cubicBezTo>
                  <a:lnTo>
                    <a:pt x="3064281" y="1894226"/>
                  </a:lnTo>
                  <a:lnTo>
                    <a:pt x="1452220" y="3506287"/>
                  </a:lnTo>
                  <a:lnTo>
                    <a:pt x="1343768" y="3392536"/>
                  </a:lnTo>
                  <a:cubicBezTo>
                    <a:pt x="563182" y="2533700"/>
                    <a:pt x="67105" y="1411625"/>
                    <a:pt x="4430" y="175204"/>
                  </a:cubicBez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4" name="Freeform 58">
              <a:extLst>
                <a:ext uri="{FF2B5EF4-FFF2-40B4-BE49-F238E27FC236}">
                  <a16:creationId xmlns:a16="http://schemas.microsoft.com/office/drawing/2014/main" xmlns="" id="{FFEAAA28-DDB5-4303-A319-304B3DD8A5C3}"/>
                </a:ext>
              </a:extLst>
            </p:cNvPr>
            <p:cNvSpPr/>
            <p:nvPr/>
          </p:nvSpPr>
          <p:spPr>
            <a:xfrm>
              <a:off x="14328746" y="7863864"/>
              <a:ext cx="3064283" cy="3506288"/>
            </a:xfrm>
            <a:custGeom>
              <a:avLst/>
              <a:gdLst>
                <a:gd name="connsiteX0" fmla="*/ 786668 w 3064283"/>
                <a:gd name="connsiteY0" fmla="*/ 0 h 3506288"/>
                <a:gd name="connsiteX1" fmla="*/ 3064283 w 3064283"/>
                <a:gd name="connsiteY1" fmla="*/ 0 h 3506288"/>
                <a:gd name="connsiteX2" fmla="*/ 3059853 w 3064283"/>
                <a:gd name="connsiteY2" fmla="*/ 175204 h 3506288"/>
                <a:gd name="connsiteX3" fmla="*/ 1720515 w 3064283"/>
                <a:gd name="connsiteY3" fmla="*/ 3392536 h 3506288"/>
                <a:gd name="connsiteX4" fmla="*/ 1612062 w 3064283"/>
                <a:gd name="connsiteY4" fmla="*/ 3506288 h 3506288"/>
                <a:gd name="connsiteX5" fmla="*/ 0 w 3064283"/>
                <a:gd name="connsiteY5" fmla="*/ 1894226 h 3506288"/>
                <a:gd name="connsiteX6" fmla="*/ 125856 w 3064283"/>
                <a:gd name="connsiteY6" fmla="*/ 1755751 h 3506288"/>
                <a:gd name="connsiteX7" fmla="*/ 785201 w 3064283"/>
                <a:gd name="connsiteY7" fmla="*/ 57999 h 3506288"/>
                <a:gd name="connsiteX8" fmla="*/ 786668 w 3064283"/>
                <a:gd name="connsiteY8" fmla="*/ 0 h 350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3" h="3506288">
                  <a:moveTo>
                    <a:pt x="786668" y="0"/>
                  </a:moveTo>
                  <a:lnTo>
                    <a:pt x="3064283" y="0"/>
                  </a:lnTo>
                  <a:lnTo>
                    <a:pt x="3059853" y="175204"/>
                  </a:lnTo>
                  <a:cubicBezTo>
                    <a:pt x="2997179" y="1411625"/>
                    <a:pt x="2501101" y="2533700"/>
                    <a:pt x="1720515" y="3392536"/>
                  </a:cubicBezTo>
                  <a:lnTo>
                    <a:pt x="1612062" y="3506288"/>
                  </a:lnTo>
                  <a:lnTo>
                    <a:pt x="0" y="1894226"/>
                  </a:lnTo>
                  <a:lnTo>
                    <a:pt x="125856" y="1755751"/>
                  </a:lnTo>
                  <a:cubicBezTo>
                    <a:pt x="510533" y="1289630"/>
                    <a:pt x="752585" y="701442"/>
                    <a:pt x="785201" y="57999"/>
                  </a:cubicBezTo>
                  <a:lnTo>
                    <a:pt x="78666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5" name="Freeform 1">
              <a:extLst>
                <a:ext uri="{FF2B5EF4-FFF2-40B4-BE49-F238E27FC236}">
                  <a16:creationId xmlns:a16="http://schemas.microsoft.com/office/drawing/2014/main" xmlns="" id="{081A5865-744E-40A7-BC39-169CA62E9C8A}"/>
                </a:ext>
              </a:extLst>
            </p:cNvPr>
            <p:cNvSpPr>
              <a:spLocks noChangeArrowheads="1"/>
            </p:cNvSpPr>
            <p:nvPr/>
          </p:nvSpPr>
          <p:spPr bwMode="auto">
            <a:xfrm>
              <a:off x="10526891" y="6323862"/>
              <a:ext cx="3323869" cy="5046290"/>
            </a:xfrm>
            <a:custGeom>
              <a:avLst/>
              <a:gdLst>
                <a:gd name="T0" fmla="*/ 4090 w 5091"/>
                <a:gd name="T1" fmla="*/ 4730 h 7728"/>
                <a:gd name="T2" fmla="*/ 4090 w 5091"/>
                <a:gd name="T3" fmla="*/ 4730 h 7728"/>
                <a:gd name="T4" fmla="*/ 4083 w 5091"/>
                <a:gd name="T5" fmla="*/ 4526 h 7728"/>
                <a:gd name="T6" fmla="*/ 4083 w 5091"/>
                <a:gd name="T7" fmla="*/ 4526 h 7728"/>
                <a:gd name="T8" fmla="*/ 5035 w 5091"/>
                <a:gd name="T9" fmla="*/ 2014 h 7728"/>
                <a:gd name="T10" fmla="*/ 5035 w 5091"/>
                <a:gd name="T11" fmla="*/ 2014 h 7728"/>
                <a:gd name="T12" fmla="*/ 2760 w 5091"/>
                <a:gd name="T13" fmla="*/ 63 h 7728"/>
                <a:gd name="T14" fmla="*/ 2760 w 5091"/>
                <a:gd name="T15" fmla="*/ 63 h 7728"/>
                <a:gd name="T16" fmla="*/ 852 w 5091"/>
                <a:gd name="T17" fmla="*/ 1261 h 7728"/>
                <a:gd name="T18" fmla="*/ 852 w 5091"/>
                <a:gd name="T19" fmla="*/ 1261 h 7728"/>
                <a:gd name="T20" fmla="*/ 507 w 5091"/>
                <a:gd name="T21" fmla="*/ 2282 h 7728"/>
                <a:gd name="T22" fmla="*/ 507 w 5091"/>
                <a:gd name="T23" fmla="*/ 2282 h 7728"/>
                <a:gd name="T24" fmla="*/ 183 w 5091"/>
                <a:gd name="T25" fmla="*/ 3105 h 7728"/>
                <a:gd name="T26" fmla="*/ 183 w 5091"/>
                <a:gd name="T27" fmla="*/ 3105 h 7728"/>
                <a:gd name="T28" fmla="*/ 493 w 5091"/>
                <a:gd name="T29" fmla="*/ 3372 h 7728"/>
                <a:gd name="T30" fmla="*/ 493 w 5091"/>
                <a:gd name="T31" fmla="*/ 3372 h 7728"/>
                <a:gd name="T32" fmla="*/ 493 w 5091"/>
                <a:gd name="T33" fmla="*/ 3767 h 7728"/>
                <a:gd name="T34" fmla="*/ 493 w 5091"/>
                <a:gd name="T35" fmla="*/ 3767 h 7728"/>
                <a:gd name="T36" fmla="*/ 542 w 5091"/>
                <a:gd name="T37" fmla="*/ 4133 h 7728"/>
                <a:gd name="T38" fmla="*/ 542 w 5091"/>
                <a:gd name="T39" fmla="*/ 4133 h 7728"/>
                <a:gd name="T40" fmla="*/ 514 w 5091"/>
                <a:gd name="T41" fmla="*/ 4436 h 7728"/>
                <a:gd name="T42" fmla="*/ 514 w 5091"/>
                <a:gd name="T43" fmla="*/ 4436 h 7728"/>
                <a:gd name="T44" fmla="*/ 873 w 5091"/>
                <a:gd name="T45" fmla="*/ 4922 h 7728"/>
                <a:gd name="T46" fmla="*/ 873 w 5091"/>
                <a:gd name="T47" fmla="*/ 4922 h 7728"/>
                <a:gd name="T48" fmla="*/ 1944 w 5091"/>
                <a:gd name="T49" fmla="*/ 5093 h 7728"/>
                <a:gd name="T50" fmla="*/ 1944 w 5091"/>
                <a:gd name="T51" fmla="*/ 5093 h 7728"/>
                <a:gd name="T52" fmla="*/ 1961 w 5091"/>
                <a:gd name="T53" fmla="*/ 5219 h 7728"/>
                <a:gd name="T54" fmla="*/ 1961 w 5091"/>
                <a:gd name="T55" fmla="*/ 5219 h 7728"/>
                <a:gd name="T56" fmla="*/ 1397 w 5091"/>
                <a:gd name="T57" fmla="*/ 7727 h 7728"/>
                <a:gd name="T58" fmla="*/ 1775 w 5091"/>
                <a:gd name="T59" fmla="*/ 7727 h 7728"/>
                <a:gd name="T60" fmla="*/ 4618 w 5091"/>
                <a:gd name="T61" fmla="*/ 7727 h 7728"/>
                <a:gd name="T62" fmla="*/ 5090 w 5091"/>
                <a:gd name="T63" fmla="*/ 7727 h 7728"/>
                <a:gd name="T64" fmla="*/ 5090 w 5091"/>
                <a:gd name="T65" fmla="*/ 7727 h 7728"/>
                <a:gd name="T66" fmla="*/ 4657 w 5091"/>
                <a:gd name="T67" fmla="*/ 6432 h 7728"/>
                <a:gd name="T68" fmla="*/ 4657 w 5091"/>
                <a:gd name="T69" fmla="*/ 6432 h 7728"/>
                <a:gd name="T70" fmla="*/ 4090 w 5091"/>
                <a:gd name="T71" fmla="*/ 4730 h 7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91" h="7728">
                  <a:moveTo>
                    <a:pt x="4090" y="4730"/>
                  </a:moveTo>
                  <a:lnTo>
                    <a:pt x="4090" y="4730"/>
                  </a:lnTo>
                  <a:cubicBezTo>
                    <a:pt x="4086" y="4661"/>
                    <a:pt x="4084" y="4593"/>
                    <a:pt x="4083" y="4526"/>
                  </a:cubicBezTo>
                  <a:lnTo>
                    <a:pt x="4083" y="4526"/>
                  </a:lnTo>
                  <a:cubicBezTo>
                    <a:pt x="4076" y="3934"/>
                    <a:pt x="5028" y="3169"/>
                    <a:pt x="5035" y="2014"/>
                  </a:cubicBezTo>
                  <a:lnTo>
                    <a:pt x="5035" y="2014"/>
                  </a:lnTo>
                  <a:cubicBezTo>
                    <a:pt x="5042" y="859"/>
                    <a:pt x="3971" y="57"/>
                    <a:pt x="2760" y="63"/>
                  </a:cubicBezTo>
                  <a:lnTo>
                    <a:pt x="2760" y="63"/>
                  </a:lnTo>
                  <a:cubicBezTo>
                    <a:pt x="2760" y="63"/>
                    <a:pt x="1373" y="0"/>
                    <a:pt x="852" y="1261"/>
                  </a:cubicBezTo>
                  <a:lnTo>
                    <a:pt x="852" y="1261"/>
                  </a:lnTo>
                  <a:cubicBezTo>
                    <a:pt x="606" y="1902"/>
                    <a:pt x="909" y="1831"/>
                    <a:pt x="507" y="2282"/>
                  </a:cubicBezTo>
                  <a:lnTo>
                    <a:pt x="507" y="2282"/>
                  </a:lnTo>
                  <a:cubicBezTo>
                    <a:pt x="106" y="2733"/>
                    <a:pt x="0" y="3021"/>
                    <a:pt x="183" y="3105"/>
                  </a:cubicBezTo>
                  <a:lnTo>
                    <a:pt x="183" y="3105"/>
                  </a:lnTo>
                  <a:cubicBezTo>
                    <a:pt x="366" y="3190"/>
                    <a:pt x="500" y="3154"/>
                    <a:pt x="493" y="3372"/>
                  </a:cubicBezTo>
                  <a:lnTo>
                    <a:pt x="493" y="3372"/>
                  </a:lnTo>
                  <a:cubicBezTo>
                    <a:pt x="451" y="3492"/>
                    <a:pt x="295" y="3640"/>
                    <a:pt x="493" y="3767"/>
                  </a:cubicBezTo>
                  <a:lnTo>
                    <a:pt x="493" y="3767"/>
                  </a:lnTo>
                  <a:cubicBezTo>
                    <a:pt x="366" y="3950"/>
                    <a:pt x="563" y="4077"/>
                    <a:pt x="542" y="4133"/>
                  </a:cubicBezTo>
                  <a:lnTo>
                    <a:pt x="542" y="4133"/>
                  </a:lnTo>
                  <a:cubicBezTo>
                    <a:pt x="542" y="4133"/>
                    <a:pt x="570" y="4281"/>
                    <a:pt x="514" y="4436"/>
                  </a:cubicBezTo>
                  <a:lnTo>
                    <a:pt x="514" y="4436"/>
                  </a:lnTo>
                  <a:cubicBezTo>
                    <a:pt x="457" y="4591"/>
                    <a:pt x="373" y="4922"/>
                    <a:pt x="873" y="4922"/>
                  </a:cubicBezTo>
                  <a:lnTo>
                    <a:pt x="873" y="4922"/>
                  </a:lnTo>
                  <a:cubicBezTo>
                    <a:pt x="1373" y="4922"/>
                    <a:pt x="1867" y="4755"/>
                    <a:pt x="1944" y="5093"/>
                  </a:cubicBezTo>
                  <a:lnTo>
                    <a:pt x="1944" y="5093"/>
                  </a:lnTo>
                  <a:cubicBezTo>
                    <a:pt x="1953" y="5132"/>
                    <a:pt x="1958" y="5175"/>
                    <a:pt x="1961" y="5219"/>
                  </a:cubicBezTo>
                  <a:lnTo>
                    <a:pt x="1961" y="5219"/>
                  </a:lnTo>
                  <a:cubicBezTo>
                    <a:pt x="1928" y="6174"/>
                    <a:pt x="1397" y="7727"/>
                    <a:pt x="1397" y="7727"/>
                  </a:cubicBezTo>
                  <a:lnTo>
                    <a:pt x="1775" y="7727"/>
                  </a:lnTo>
                  <a:lnTo>
                    <a:pt x="4618" y="7727"/>
                  </a:lnTo>
                  <a:lnTo>
                    <a:pt x="5090" y="7727"/>
                  </a:lnTo>
                  <a:lnTo>
                    <a:pt x="5090" y="7727"/>
                  </a:lnTo>
                  <a:cubicBezTo>
                    <a:pt x="5090" y="7727"/>
                    <a:pt x="5023" y="7129"/>
                    <a:pt x="4657" y="6432"/>
                  </a:cubicBezTo>
                  <a:lnTo>
                    <a:pt x="4657" y="6432"/>
                  </a:lnTo>
                  <a:cubicBezTo>
                    <a:pt x="4299" y="5752"/>
                    <a:pt x="4093" y="4772"/>
                    <a:pt x="4090" y="4730"/>
                  </a:cubicBezTo>
                </a:path>
              </a:pathLst>
            </a:custGeom>
            <a:solidFill>
              <a:schemeClr val="tx2"/>
            </a:solidFill>
            <a:ln>
              <a:noFill/>
            </a:ln>
            <a:effectLst/>
          </p:spPr>
          <p:txBody>
            <a:bodyPr wrap="none" anchor="ctr"/>
            <a:lstStyle/>
            <a:p>
              <a:endParaRPr lang="en-GB" dirty="0">
                <a:latin typeface="+mj-lt"/>
              </a:endParaRPr>
            </a:p>
          </p:txBody>
        </p:sp>
      </p:grpSp>
      <p:sp>
        <p:nvSpPr>
          <p:cNvPr id="36" name="Freeform 311">
            <a:extLst>
              <a:ext uri="{FF2B5EF4-FFF2-40B4-BE49-F238E27FC236}">
                <a16:creationId xmlns:a16="http://schemas.microsoft.com/office/drawing/2014/main" xmlns="" id="{10EF235C-7697-4259-BCCA-5821BF96AF8B}"/>
              </a:ext>
            </a:extLst>
          </p:cNvPr>
          <p:cNvSpPr>
            <a:spLocks noChangeAspect="1" noChangeArrowheads="1"/>
          </p:cNvSpPr>
          <p:nvPr/>
        </p:nvSpPr>
        <p:spPr bwMode="auto">
          <a:xfrm>
            <a:off x="6826556" y="3998043"/>
            <a:ext cx="752761" cy="746041"/>
          </a:xfrm>
          <a:custGeom>
            <a:avLst/>
            <a:gdLst>
              <a:gd name="T0" fmla="*/ 2147483646 w 814"/>
              <a:gd name="T1" fmla="*/ 2147483646 h 812"/>
              <a:gd name="T2" fmla="*/ 2147483646 w 814"/>
              <a:gd name="T3" fmla="*/ 2147483646 h 812"/>
              <a:gd name="T4" fmla="*/ 2147483646 w 814"/>
              <a:gd name="T5" fmla="*/ 2147483646 h 812"/>
              <a:gd name="T6" fmla="*/ 2147483646 w 814"/>
              <a:gd name="T7" fmla="*/ 2147483646 h 812"/>
              <a:gd name="T8" fmla="*/ 2147483646 w 814"/>
              <a:gd name="T9" fmla="*/ 2147483646 h 812"/>
              <a:gd name="T10" fmla="*/ 2147483646 w 814"/>
              <a:gd name="T11" fmla="*/ 2147483646 h 812"/>
              <a:gd name="T12" fmla="*/ 2147483646 w 814"/>
              <a:gd name="T13" fmla="*/ 2147483646 h 812"/>
              <a:gd name="T14" fmla="*/ 2147483646 w 814"/>
              <a:gd name="T15" fmla="*/ 2147483646 h 812"/>
              <a:gd name="T16" fmla="*/ 2147483646 w 814"/>
              <a:gd name="T17" fmla="*/ 2147483646 h 812"/>
              <a:gd name="T18" fmla="*/ 2147483646 w 814"/>
              <a:gd name="T19" fmla="*/ 2147483646 h 812"/>
              <a:gd name="T20" fmla="*/ 2147483646 w 814"/>
              <a:gd name="T21" fmla="*/ 2147483646 h 812"/>
              <a:gd name="T22" fmla="*/ 2147483646 w 814"/>
              <a:gd name="T23" fmla="*/ 2147483646 h 812"/>
              <a:gd name="T24" fmla="*/ 2147483646 w 814"/>
              <a:gd name="T25" fmla="*/ 2147483646 h 812"/>
              <a:gd name="T26" fmla="*/ 2147483646 w 814"/>
              <a:gd name="T27" fmla="*/ 2147483646 h 812"/>
              <a:gd name="T28" fmla="*/ 2147483646 w 814"/>
              <a:gd name="T29" fmla="*/ 2147483646 h 812"/>
              <a:gd name="T30" fmla="*/ 2147483646 w 814"/>
              <a:gd name="T31" fmla="*/ 2147483646 h 812"/>
              <a:gd name="T32" fmla="*/ 2147483646 w 814"/>
              <a:gd name="T33" fmla="*/ 2147483646 h 812"/>
              <a:gd name="T34" fmla="*/ 2147483646 w 814"/>
              <a:gd name="T35" fmla="*/ 2147483646 h 812"/>
              <a:gd name="T36" fmla="*/ 2147483646 w 814"/>
              <a:gd name="T37" fmla="*/ 2147483646 h 812"/>
              <a:gd name="T38" fmla="*/ 2147483646 w 814"/>
              <a:gd name="T39" fmla="*/ 2147483646 h 812"/>
              <a:gd name="T40" fmla="*/ 2147483646 w 814"/>
              <a:gd name="T41" fmla="*/ 2147483646 h 812"/>
              <a:gd name="T42" fmla="*/ 2147483646 w 814"/>
              <a:gd name="T43" fmla="*/ 2147483646 h 812"/>
              <a:gd name="T44" fmla="*/ 2147483646 w 814"/>
              <a:gd name="T45" fmla="*/ 2147483646 h 812"/>
              <a:gd name="T46" fmla="*/ 2147483646 w 814"/>
              <a:gd name="T47" fmla="*/ 2147483646 h 812"/>
              <a:gd name="T48" fmla="*/ 2147483646 w 814"/>
              <a:gd name="T49" fmla="*/ 2147483646 h 812"/>
              <a:gd name="T50" fmla="*/ 0 w 814"/>
              <a:gd name="T51" fmla="*/ 2147483646 h 812"/>
              <a:gd name="T52" fmla="*/ 2147483646 w 814"/>
              <a:gd name="T53" fmla="*/ 2147483646 h 812"/>
              <a:gd name="T54" fmla="*/ 2147483646 w 814"/>
              <a:gd name="T55" fmla="*/ 2147483646 h 812"/>
              <a:gd name="T56" fmla="*/ 2147483646 w 814"/>
              <a:gd name="T57" fmla="*/ 2147483646 h 812"/>
              <a:gd name="T58" fmla="*/ 2147483646 w 814"/>
              <a:gd name="T59" fmla="*/ 2147483646 h 812"/>
              <a:gd name="T60" fmla="*/ 2147483646 w 814"/>
              <a:gd name="T61" fmla="*/ 2147483646 h 812"/>
              <a:gd name="T62" fmla="*/ 2147483646 w 814"/>
              <a:gd name="T63" fmla="*/ 2147483646 h 812"/>
              <a:gd name="T64" fmla="*/ 2147483646 w 814"/>
              <a:gd name="T65" fmla="*/ 2147483646 h 812"/>
              <a:gd name="T66" fmla="*/ 2147483646 w 814"/>
              <a:gd name="T67" fmla="*/ 2147483646 h 812"/>
              <a:gd name="T68" fmla="*/ 2147483646 w 814"/>
              <a:gd name="T69" fmla="*/ 2147483646 h 812"/>
              <a:gd name="T70" fmla="*/ 2147483646 w 814"/>
              <a:gd name="T71" fmla="*/ 2147483646 h 812"/>
              <a:gd name="T72" fmla="*/ 2147483646 w 814"/>
              <a:gd name="T73" fmla="*/ 2147483646 h 812"/>
              <a:gd name="T74" fmla="*/ 2147483646 w 814"/>
              <a:gd name="T75" fmla="*/ 2147483646 h 812"/>
              <a:gd name="T76" fmla="*/ 2147483646 w 814"/>
              <a:gd name="T77" fmla="*/ 2147483646 h 812"/>
              <a:gd name="T78" fmla="*/ 2147483646 w 814"/>
              <a:gd name="T79" fmla="*/ 2147483646 h 812"/>
              <a:gd name="T80" fmla="*/ 2147483646 w 814"/>
              <a:gd name="T81" fmla="*/ 2147483646 h 812"/>
              <a:gd name="T82" fmla="*/ 2147483646 w 814"/>
              <a:gd name="T83" fmla="*/ 2147483646 h 812"/>
              <a:gd name="T84" fmla="*/ 2147483646 w 814"/>
              <a:gd name="T85" fmla="*/ 2147483646 h 812"/>
              <a:gd name="T86" fmla="*/ 2147483646 w 814"/>
              <a:gd name="T87" fmla="*/ 2147483646 h 812"/>
              <a:gd name="T88" fmla="*/ 2147483646 w 814"/>
              <a:gd name="T89" fmla="*/ 2147483646 h 812"/>
              <a:gd name="T90" fmla="*/ 2147483646 w 814"/>
              <a:gd name="T91" fmla="*/ 2147483646 h 812"/>
              <a:gd name="T92" fmla="*/ 2147483646 w 814"/>
              <a:gd name="T93" fmla="*/ 2147483646 h 812"/>
              <a:gd name="T94" fmla="*/ 2147483646 w 814"/>
              <a:gd name="T95" fmla="*/ 2147483646 h 812"/>
              <a:gd name="T96" fmla="*/ 2147483646 w 814"/>
              <a:gd name="T97" fmla="*/ 2147483646 h 8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14" h="812">
                <a:moveTo>
                  <a:pt x="575" y="609"/>
                </a:moveTo>
                <a:lnTo>
                  <a:pt x="575" y="609"/>
                </a:lnTo>
                <a:cubicBezTo>
                  <a:pt x="574" y="615"/>
                  <a:pt x="574" y="621"/>
                  <a:pt x="574" y="628"/>
                </a:cubicBezTo>
                <a:lnTo>
                  <a:pt x="574" y="652"/>
                </a:lnTo>
                <a:lnTo>
                  <a:pt x="325" y="652"/>
                </a:lnTo>
                <a:cubicBezTo>
                  <a:pt x="317" y="652"/>
                  <a:pt x="311" y="657"/>
                  <a:pt x="311" y="664"/>
                </a:cubicBezTo>
                <a:cubicBezTo>
                  <a:pt x="311" y="672"/>
                  <a:pt x="317" y="676"/>
                  <a:pt x="325" y="676"/>
                </a:cubicBezTo>
                <a:lnTo>
                  <a:pt x="574" y="676"/>
                </a:lnTo>
                <a:lnTo>
                  <a:pt x="574" y="715"/>
                </a:lnTo>
                <a:cubicBezTo>
                  <a:pt x="574" y="717"/>
                  <a:pt x="573" y="718"/>
                  <a:pt x="570" y="718"/>
                </a:cubicBezTo>
                <a:lnTo>
                  <a:pt x="275" y="718"/>
                </a:lnTo>
                <a:cubicBezTo>
                  <a:pt x="273" y="718"/>
                  <a:pt x="271" y="717"/>
                  <a:pt x="271" y="715"/>
                </a:cubicBezTo>
                <a:lnTo>
                  <a:pt x="271" y="629"/>
                </a:lnTo>
                <a:cubicBezTo>
                  <a:pt x="271" y="623"/>
                  <a:pt x="271" y="615"/>
                  <a:pt x="271" y="609"/>
                </a:cubicBezTo>
                <a:lnTo>
                  <a:pt x="575" y="609"/>
                </a:lnTo>
                <a:close/>
                <a:moveTo>
                  <a:pt x="486" y="787"/>
                </a:moveTo>
                <a:lnTo>
                  <a:pt x="360" y="787"/>
                </a:lnTo>
                <a:cubicBezTo>
                  <a:pt x="333" y="787"/>
                  <a:pt x="310" y="768"/>
                  <a:pt x="306" y="743"/>
                </a:cubicBezTo>
                <a:lnTo>
                  <a:pt x="540" y="743"/>
                </a:lnTo>
                <a:cubicBezTo>
                  <a:pt x="534" y="768"/>
                  <a:pt x="512" y="787"/>
                  <a:pt x="486" y="787"/>
                </a:cubicBezTo>
                <a:close/>
                <a:moveTo>
                  <a:pt x="645" y="399"/>
                </a:moveTo>
                <a:lnTo>
                  <a:pt x="645" y="399"/>
                </a:lnTo>
                <a:cubicBezTo>
                  <a:pt x="647" y="400"/>
                  <a:pt x="648" y="400"/>
                  <a:pt x="650" y="400"/>
                </a:cubicBezTo>
                <a:cubicBezTo>
                  <a:pt x="653" y="400"/>
                  <a:pt x="656" y="399"/>
                  <a:pt x="659" y="397"/>
                </a:cubicBezTo>
                <a:lnTo>
                  <a:pt x="808" y="248"/>
                </a:lnTo>
                <a:cubicBezTo>
                  <a:pt x="813" y="243"/>
                  <a:pt x="813" y="235"/>
                  <a:pt x="808" y="231"/>
                </a:cubicBezTo>
                <a:lnTo>
                  <a:pt x="659" y="81"/>
                </a:lnTo>
                <a:cubicBezTo>
                  <a:pt x="655" y="79"/>
                  <a:pt x="650" y="77"/>
                  <a:pt x="645" y="79"/>
                </a:cubicBezTo>
                <a:cubicBezTo>
                  <a:pt x="641" y="81"/>
                  <a:pt x="638" y="86"/>
                  <a:pt x="638" y="90"/>
                </a:cubicBezTo>
                <a:lnTo>
                  <a:pt x="638" y="163"/>
                </a:lnTo>
                <a:lnTo>
                  <a:pt x="234" y="163"/>
                </a:lnTo>
                <a:cubicBezTo>
                  <a:pt x="228" y="163"/>
                  <a:pt x="222" y="167"/>
                  <a:pt x="222" y="174"/>
                </a:cubicBezTo>
                <a:cubicBezTo>
                  <a:pt x="222" y="181"/>
                  <a:pt x="228" y="186"/>
                  <a:pt x="234" y="186"/>
                </a:cubicBezTo>
                <a:lnTo>
                  <a:pt x="650" y="186"/>
                </a:lnTo>
                <a:cubicBezTo>
                  <a:pt x="658" y="186"/>
                  <a:pt x="662" y="181"/>
                  <a:pt x="662" y="174"/>
                </a:cubicBezTo>
                <a:lnTo>
                  <a:pt x="662" y="121"/>
                </a:lnTo>
                <a:lnTo>
                  <a:pt x="782" y="240"/>
                </a:lnTo>
                <a:lnTo>
                  <a:pt x="662" y="358"/>
                </a:lnTo>
                <a:lnTo>
                  <a:pt x="662" y="304"/>
                </a:lnTo>
                <a:cubicBezTo>
                  <a:pt x="662" y="297"/>
                  <a:pt x="658" y="292"/>
                  <a:pt x="650" y="292"/>
                </a:cubicBezTo>
                <a:lnTo>
                  <a:pt x="479" y="292"/>
                </a:lnTo>
                <a:lnTo>
                  <a:pt x="398" y="213"/>
                </a:lnTo>
                <a:cubicBezTo>
                  <a:pt x="395" y="209"/>
                  <a:pt x="389" y="207"/>
                  <a:pt x="385" y="209"/>
                </a:cubicBezTo>
                <a:cubicBezTo>
                  <a:pt x="381" y="211"/>
                  <a:pt x="377" y="216"/>
                  <a:pt x="377" y="220"/>
                </a:cubicBezTo>
                <a:lnTo>
                  <a:pt x="377" y="293"/>
                </a:lnTo>
                <a:lnTo>
                  <a:pt x="139" y="293"/>
                </a:lnTo>
                <a:cubicBezTo>
                  <a:pt x="147" y="143"/>
                  <a:pt x="271" y="25"/>
                  <a:pt x="421" y="25"/>
                </a:cubicBezTo>
                <a:cubicBezTo>
                  <a:pt x="479" y="25"/>
                  <a:pt x="535" y="42"/>
                  <a:pt x="582" y="76"/>
                </a:cubicBezTo>
                <a:cubicBezTo>
                  <a:pt x="589" y="79"/>
                  <a:pt x="595" y="77"/>
                  <a:pt x="600" y="72"/>
                </a:cubicBezTo>
                <a:cubicBezTo>
                  <a:pt x="603" y="67"/>
                  <a:pt x="602" y="59"/>
                  <a:pt x="596" y="54"/>
                </a:cubicBezTo>
                <a:cubicBezTo>
                  <a:pt x="546" y="19"/>
                  <a:pt x="484" y="0"/>
                  <a:pt x="421" y="0"/>
                </a:cubicBezTo>
                <a:cubicBezTo>
                  <a:pt x="257" y="0"/>
                  <a:pt x="123" y="130"/>
                  <a:pt x="114" y="293"/>
                </a:cubicBezTo>
                <a:lnTo>
                  <a:pt x="11" y="293"/>
                </a:lnTo>
                <a:cubicBezTo>
                  <a:pt x="6" y="293"/>
                  <a:pt x="0" y="297"/>
                  <a:pt x="0" y="304"/>
                </a:cubicBezTo>
                <a:cubicBezTo>
                  <a:pt x="0" y="311"/>
                  <a:pt x="6" y="317"/>
                  <a:pt x="11" y="317"/>
                </a:cubicBezTo>
                <a:lnTo>
                  <a:pt x="390" y="317"/>
                </a:lnTo>
                <a:cubicBezTo>
                  <a:pt x="397" y="317"/>
                  <a:pt x="402" y="311"/>
                  <a:pt x="402" y="304"/>
                </a:cubicBezTo>
                <a:lnTo>
                  <a:pt x="402" y="251"/>
                </a:lnTo>
                <a:lnTo>
                  <a:pt x="522" y="370"/>
                </a:lnTo>
                <a:lnTo>
                  <a:pt x="402" y="489"/>
                </a:lnTo>
                <a:lnTo>
                  <a:pt x="402" y="434"/>
                </a:lnTo>
                <a:cubicBezTo>
                  <a:pt x="402" y="429"/>
                  <a:pt x="397" y="422"/>
                  <a:pt x="390" y="422"/>
                </a:cubicBezTo>
                <a:lnTo>
                  <a:pt x="94" y="422"/>
                </a:lnTo>
                <a:cubicBezTo>
                  <a:pt x="87" y="422"/>
                  <a:pt x="82" y="429"/>
                  <a:pt x="82" y="434"/>
                </a:cubicBezTo>
                <a:cubicBezTo>
                  <a:pt x="82" y="441"/>
                  <a:pt x="87" y="447"/>
                  <a:pt x="94" y="447"/>
                </a:cubicBezTo>
                <a:lnTo>
                  <a:pt x="147" y="447"/>
                </a:lnTo>
                <a:cubicBezTo>
                  <a:pt x="162" y="475"/>
                  <a:pt x="180" y="501"/>
                  <a:pt x="203" y="524"/>
                </a:cubicBezTo>
                <a:cubicBezTo>
                  <a:pt x="231" y="552"/>
                  <a:pt x="246" y="589"/>
                  <a:pt x="246" y="629"/>
                </a:cubicBezTo>
                <a:lnTo>
                  <a:pt x="246" y="715"/>
                </a:lnTo>
                <a:cubicBezTo>
                  <a:pt x="246" y="730"/>
                  <a:pt x="259" y="743"/>
                  <a:pt x="275" y="743"/>
                </a:cubicBezTo>
                <a:lnTo>
                  <a:pt x="281" y="743"/>
                </a:lnTo>
                <a:cubicBezTo>
                  <a:pt x="286" y="782"/>
                  <a:pt x="319" y="811"/>
                  <a:pt x="360" y="811"/>
                </a:cubicBezTo>
                <a:lnTo>
                  <a:pt x="486" y="811"/>
                </a:lnTo>
                <a:cubicBezTo>
                  <a:pt x="525" y="811"/>
                  <a:pt x="559" y="782"/>
                  <a:pt x="565" y="743"/>
                </a:cubicBezTo>
                <a:lnTo>
                  <a:pt x="570" y="743"/>
                </a:lnTo>
                <a:cubicBezTo>
                  <a:pt x="585" y="743"/>
                  <a:pt x="599" y="730"/>
                  <a:pt x="599" y="715"/>
                </a:cubicBezTo>
                <a:lnTo>
                  <a:pt x="599" y="628"/>
                </a:lnTo>
                <a:cubicBezTo>
                  <a:pt x="599" y="588"/>
                  <a:pt x="615" y="550"/>
                  <a:pt x="642" y="521"/>
                </a:cubicBezTo>
                <a:cubicBezTo>
                  <a:pt x="667" y="495"/>
                  <a:pt x="687" y="466"/>
                  <a:pt x="702" y="433"/>
                </a:cubicBezTo>
                <a:cubicBezTo>
                  <a:pt x="705" y="426"/>
                  <a:pt x="702" y="420"/>
                  <a:pt x="696" y="417"/>
                </a:cubicBezTo>
                <a:cubicBezTo>
                  <a:pt x="689" y="414"/>
                  <a:pt x="682" y="417"/>
                  <a:pt x="679" y="423"/>
                </a:cubicBezTo>
                <a:cubicBezTo>
                  <a:pt x="665" y="454"/>
                  <a:pt x="647" y="481"/>
                  <a:pt x="624" y="506"/>
                </a:cubicBezTo>
                <a:cubicBezTo>
                  <a:pt x="602" y="527"/>
                  <a:pt x="587" y="554"/>
                  <a:pt x="579" y="584"/>
                </a:cubicBezTo>
                <a:lnTo>
                  <a:pt x="265" y="584"/>
                </a:lnTo>
                <a:cubicBezTo>
                  <a:pt x="257" y="555"/>
                  <a:pt x="242" y="528"/>
                  <a:pt x="221" y="507"/>
                </a:cubicBezTo>
                <a:cubicBezTo>
                  <a:pt x="203" y="489"/>
                  <a:pt x="188" y="468"/>
                  <a:pt x="175" y="447"/>
                </a:cubicBezTo>
                <a:lnTo>
                  <a:pt x="377" y="447"/>
                </a:lnTo>
                <a:lnTo>
                  <a:pt x="377" y="518"/>
                </a:lnTo>
                <a:cubicBezTo>
                  <a:pt x="377" y="524"/>
                  <a:pt x="381" y="528"/>
                  <a:pt x="385" y="529"/>
                </a:cubicBezTo>
                <a:cubicBezTo>
                  <a:pt x="387" y="530"/>
                  <a:pt x="388" y="530"/>
                  <a:pt x="390" y="530"/>
                </a:cubicBezTo>
                <a:cubicBezTo>
                  <a:pt x="393" y="530"/>
                  <a:pt x="396" y="529"/>
                  <a:pt x="398" y="527"/>
                </a:cubicBezTo>
                <a:lnTo>
                  <a:pt x="548" y="378"/>
                </a:lnTo>
                <a:cubicBezTo>
                  <a:pt x="550" y="377"/>
                  <a:pt x="551" y="373"/>
                  <a:pt x="551" y="370"/>
                </a:cubicBezTo>
                <a:cubicBezTo>
                  <a:pt x="551" y="366"/>
                  <a:pt x="550" y="363"/>
                  <a:pt x="548" y="361"/>
                </a:cubicBezTo>
                <a:lnTo>
                  <a:pt x="503" y="317"/>
                </a:lnTo>
                <a:lnTo>
                  <a:pt x="638" y="317"/>
                </a:lnTo>
                <a:lnTo>
                  <a:pt x="638" y="388"/>
                </a:lnTo>
                <a:cubicBezTo>
                  <a:pt x="638" y="392"/>
                  <a:pt x="641" y="398"/>
                  <a:pt x="645" y="399"/>
                </a:cubicBezTo>
                <a:close/>
              </a:path>
            </a:pathLst>
          </a:custGeom>
          <a:solidFill>
            <a:schemeClr val="bg2"/>
          </a:solidFill>
          <a:ln>
            <a:noFill/>
          </a:ln>
          <a:effectLst/>
        </p:spPr>
        <p:txBody>
          <a:bodyPr wrap="none" anchor="ctr"/>
          <a:lstStyle/>
          <a:p>
            <a:endParaRPr lang="en-GB" dirty="0">
              <a:latin typeface="+mj-lt"/>
            </a:endParaRPr>
          </a:p>
        </p:txBody>
      </p:sp>
      <p:sp>
        <p:nvSpPr>
          <p:cNvPr id="37" name="TextBox 90">
            <a:extLst>
              <a:ext uri="{FF2B5EF4-FFF2-40B4-BE49-F238E27FC236}">
                <a16:creationId xmlns:a16="http://schemas.microsoft.com/office/drawing/2014/main" xmlns="" id="{F1D023BA-B84F-421C-BF87-D70BC08F5983}"/>
              </a:ext>
            </a:extLst>
          </p:cNvPr>
          <p:cNvSpPr txBox="1"/>
          <p:nvPr/>
        </p:nvSpPr>
        <p:spPr>
          <a:xfrm>
            <a:off x="5441620" y="5419315"/>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1</a:t>
            </a:r>
          </a:p>
        </p:txBody>
      </p:sp>
      <p:sp>
        <p:nvSpPr>
          <p:cNvPr id="38" name="TextBox 100">
            <a:extLst>
              <a:ext uri="{FF2B5EF4-FFF2-40B4-BE49-F238E27FC236}">
                <a16:creationId xmlns:a16="http://schemas.microsoft.com/office/drawing/2014/main" xmlns="" id="{EF0760F0-3B26-42E7-802B-00C53A39454D}"/>
              </a:ext>
            </a:extLst>
          </p:cNvPr>
          <p:cNvSpPr txBox="1"/>
          <p:nvPr/>
        </p:nvSpPr>
        <p:spPr>
          <a:xfrm>
            <a:off x="8583788" y="5419315"/>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6</a:t>
            </a:r>
          </a:p>
        </p:txBody>
      </p:sp>
      <p:sp>
        <p:nvSpPr>
          <p:cNvPr id="39" name="TextBox 101">
            <a:extLst>
              <a:ext uri="{FF2B5EF4-FFF2-40B4-BE49-F238E27FC236}">
                <a16:creationId xmlns:a16="http://schemas.microsoft.com/office/drawing/2014/main" xmlns="" id="{BFC5B3F7-94FF-4FB0-A144-B3DFA63CFDA5}"/>
              </a:ext>
            </a:extLst>
          </p:cNvPr>
          <p:cNvSpPr txBox="1"/>
          <p:nvPr/>
        </p:nvSpPr>
        <p:spPr>
          <a:xfrm>
            <a:off x="9114593" y="3993118"/>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5</a:t>
            </a:r>
          </a:p>
        </p:txBody>
      </p:sp>
      <p:sp>
        <p:nvSpPr>
          <p:cNvPr id="40" name="TextBox 103">
            <a:extLst>
              <a:ext uri="{FF2B5EF4-FFF2-40B4-BE49-F238E27FC236}">
                <a16:creationId xmlns:a16="http://schemas.microsoft.com/office/drawing/2014/main" xmlns="" id="{10498FF7-28B9-46AA-BF1D-74E494E52CD1}"/>
              </a:ext>
            </a:extLst>
          </p:cNvPr>
          <p:cNvSpPr txBox="1"/>
          <p:nvPr/>
        </p:nvSpPr>
        <p:spPr>
          <a:xfrm>
            <a:off x="5277265" y="3986270"/>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2</a:t>
            </a:r>
          </a:p>
        </p:txBody>
      </p:sp>
      <p:sp>
        <p:nvSpPr>
          <p:cNvPr id="41" name="TextBox 105">
            <a:extLst>
              <a:ext uri="{FF2B5EF4-FFF2-40B4-BE49-F238E27FC236}">
                <a16:creationId xmlns:a16="http://schemas.microsoft.com/office/drawing/2014/main" xmlns="" id="{CB881485-D52A-4FC5-9B66-7180BB640931}"/>
              </a:ext>
            </a:extLst>
          </p:cNvPr>
          <p:cNvSpPr txBox="1"/>
          <p:nvPr/>
        </p:nvSpPr>
        <p:spPr>
          <a:xfrm>
            <a:off x="6154637" y="3025754"/>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3</a:t>
            </a:r>
          </a:p>
        </p:txBody>
      </p:sp>
      <p:sp>
        <p:nvSpPr>
          <p:cNvPr id="42" name="TextBox 106">
            <a:extLst>
              <a:ext uri="{FF2B5EF4-FFF2-40B4-BE49-F238E27FC236}">
                <a16:creationId xmlns:a16="http://schemas.microsoft.com/office/drawing/2014/main" xmlns="" id="{C380B2C5-2ABB-4E2F-897E-4774DE0E2E03}"/>
              </a:ext>
            </a:extLst>
          </p:cNvPr>
          <p:cNvSpPr txBox="1"/>
          <p:nvPr/>
        </p:nvSpPr>
        <p:spPr>
          <a:xfrm>
            <a:off x="7835033" y="3025754"/>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4</a:t>
            </a:r>
          </a:p>
        </p:txBody>
      </p:sp>
      <p:sp>
        <p:nvSpPr>
          <p:cNvPr id="50" name="Subtitle 2">
            <a:extLst>
              <a:ext uri="{FF2B5EF4-FFF2-40B4-BE49-F238E27FC236}">
                <a16:creationId xmlns:a16="http://schemas.microsoft.com/office/drawing/2014/main" xmlns="" id="{86916180-B1C2-4CB5-AEBC-22710F5F2815}"/>
              </a:ext>
            </a:extLst>
          </p:cNvPr>
          <p:cNvSpPr txBox="1">
            <a:spLocks/>
          </p:cNvSpPr>
          <p:nvPr/>
        </p:nvSpPr>
        <p:spPr>
          <a:xfrm>
            <a:off x="3638111" y="4743948"/>
            <a:ext cx="1320011"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To identify every compliance and risk area</a:t>
            </a:r>
          </a:p>
        </p:txBody>
      </p:sp>
      <p:sp>
        <p:nvSpPr>
          <p:cNvPr id="51" name="Subtitle 2">
            <a:extLst>
              <a:ext uri="{FF2B5EF4-FFF2-40B4-BE49-F238E27FC236}">
                <a16:creationId xmlns:a16="http://schemas.microsoft.com/office/drawing/2014/main" xmlns="" id="{795002AF-FD50-41F7-94E2-7D6195A5DEBF}"/>
              </a:ext>
            </a:extLst>
          </p:cNvPr>
          <p:cNvSpPr txBox="1">
            <a:spLocks/>
          </p:cNvSpPr>
          <p:nvPr/>
        </p:nvSpPr>
        <p:spPr>
          <a:xfrm>
            <a:off x="3520236" y="2994383"/>
            <a:ext cx="1320011"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Are we compliant in every area?</a:t>
            </a:r>
          </a:p>
        </p:txBody>
      </p:sp>
      <p:sp>
        <p:nvSpPr>
          <p:cNvPr id="52" name="Subtitle 2">
            <a:extLst>
              <a:ext uri="{FF2B5EF4-FFF2-40B4-BE49-F238E27FC236}">
                <a16:creationId xmlns:a16="http://schemas.microsoft.com/office/drawing/2014/main" xmlns="" id="{517A99FD-ADCA-4383-A904-873F4B2A3119}"/>
              </a:ext>
            </a:extLst>
          </p:cNvPr>
          <p:cNvSpPr txBox="1">
            <a:spLocks/>
          </p:cNvSpPr>
          <p:nvPr/>
        </p:nvSpPr>
        <p:spPr>
          <a:xfrm>
            <a:off x="4476747" y="1817398"/>
            <a:ext cx="1544998" cy="65018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Do we have gaps?</a:t>
            </a:r>
          </a:p>
        </p:txBody>
      </p:sp>
      <p:sp>
        <p:nvSpPr>
          <p:cNvPr id="53" name="Subtitle 2">
            <a:extLst>
              <a:ext uri="{FF2B5EF4-FFF2-40B4-BE49-F238E27FC236}">
                <a16:creationId xmlns:a16="http://schemas.microsoft.com/office/drawing/2014/main" xmlns="" id="{30F6F9D8-4228-418C-9A0B-87717DC35F3E}"/>
              </a:ext>
            </a:extLst>
          </p:cNvPr>
          <p:cNvSpPr txBox="1">
            <a:spLocks/>
          </p:cNvSpPr>
          <p:nvPr/>
        </p:nvSpPr>
        <p:spPr>
          <a:xfrm>
            <a:off x="9606319" y="4798489"/>
            <a:ext cx="1320011"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How should we priorities our efforts?</a:t>
            </a:r>
          </a:p>
        </p:txBody>
      </p:sp>
      <p:sp>
        <p:nvSpPr>
          <p:cNvPr id="54" name="Subtitle 2">
            <a:extLst>
              <a:ext uri="{FF2B5EF4-FFF2-40B4-BE49-F238E27FC236}">
                <a16:creationId xmlns:a16="http://schemas.microsoft.com/office/drawing/2014/main" xmlns="" id="{510FDB73-F306-4E03-987D-7929ADC72E15}"/>
              </a:ext>
            </a:extLst>
          </p:cNvPr>
          <p:cNvSpPr txBox="1">
            <a:spLocks/>
          </p:cNvSpPr>
          <p:nvPr/>
        </p:nvSpPr>
        <p:spPr>
          <a:xfrm>
            <a:off x="9606319" y="3068608"/>
            <a:ext cx="1320011"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To what standards should we comply?</a:t>
            </a:r>
          </a:p>
        </p:txBody>
      </p:sp>
      <p:sp>
        <p:nvSpPr>
          <p:cNvPr id="55" name="Subtitle 2">
            <a:extLst>
              <a:ext uri="{FF2B5EF4-FFF2-40B4-BE49-F238E27FC236}">
                <a16:creationId xmlns:a16="http://schemas.microsoft.com/office/drawing/2014/main" xmlns="" id="{4BC24307-DC97-4A2C-BDCA-2B64DEC9B73D}"/>
              </a:ext>
            </a:extLst>
          </p:cNvPr>
          <p:cNvSpPr txBox="1">
            <a:spLocks/>
          </p:cNvSpPr>
          <p:nvPr/>
        </p:nvSpPr>
        <p:spPr>
          <a:xfrm>
            <a:off x="8684592" y="1817398"/>
            <a:ext cx="1544998"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What will be required to comply</a:t>
            </a:r>
          </a:p>
        </p:txBody>
      </p:sp>
    </p:spTree>
    <p:extLst>
      <p:ext uri="{BB962C8B-B14F-4D97-AF65-F5344CB8AC3E}">
        <p14:creationId xmlns:p14="http://schemas.microsoft.com/office/powerpoint/2010/main" val="30289907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753" y="625730"/>
            <a:ext cx="8852375" cy="697353"/>
          </a:xfrm>
        </p:spPr>
        <p:txBody>
          <a:bodyPr>
            <a:normAutofit/>
          </a:bodyPr>
          <a:lstStyle/>
          <a:p>
            <a:r>
              <a:rPr lang="en-GB" dirty="0"/>
              <a:t>Leadership attitude is key</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60593" y="2083115"/>
            <a:ext cx="3142948"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olicies and procedures for predicting, evaluating and managing risk are important.  But if leaders don’t ask the right questions, if they don’t seek out a diversity of opinions and perspectives, and if they don’t act with integrity, these rules won’t make any difference.</a:t>
            </a:r>
          </a:p>
        </p:txBody>
      </p:sp>
      <p:sp>
        <p:nvSpPr>
          <p:cNvPr id="17" name="Subtitle 2">
            <a:extLst>
              <a:ext uri="{FF2B5EF4-FFF2-40B4-BE49-F238E27FC236}">
                <a16:creationId xmlns:a16="http://schemas.microsoft.com/office/drawing/2014/main" xmlns="" id="{1557740A-F4E0-46CA-B6BF-9C58F6009286}"/>
              </a:ext>
            </a:extLst>
          </p:cNvPr>
          <p:cNvSpPr txBox="1">
            <a:spLocks/>
          </p:cNvSpPr>
          <p:nvPr/>
        </p:nvSpPr>
        <p:spPr>
          <a:xfrm>
            <a:off x="3413321" y="1982730"/>
            <a:ext cx="2179242" cy="487185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elf-awareness and role-modelling good leadership</a:t>
            </a:r>
          </a:p>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Face up to, and learn from, mistakes</a:t>
            </a:r>
          </a:p>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Who holds up the mirror? </a:t>
            </a:r>
          </a:p>
          <a:p>
            <a:pPr marL="452438" indent="-269875" algn="l">
              <a:lnSpc>
                <a:spcPct val="100000"/>
              </a:lnSpc>
              <a:spcBef>
                <a:spcPts val="225"/>
              </a:spcBef>
              <a:buFont typeface="Wingdings" panose="05000000000000000000" pitchFamily="2" charset="2"/>
              <a:buChar char="à"/>
            </a:pPr>
            <a:r>
              <a:rPr lang="en-GB" sz="1800" dirty="0">
                <a:solidFill>
                  <a:srgbClr val="245473"/>
                </a:solidFill>
                <a:latin typeface="+mj-lt"/>
                <a:ea typeface="Lato Light" panose="020F0502020204030203" pitchFamily="34" charset="0"/>
                <a:cs typeface="Mukta ExtraLight" panose="020B0000000000000000" pitchFamily="34" charset="77"/>
              </a:rPr>
              <a:t>Risk, HR, all functions? </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Does that work currently?</a:t>
            </a:r>
          </a:p>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Ensure good oversight of people strategy and risk </a:t>
            </a:r>
          </a:p>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eople insight and capabilities on the board?</a:t>
            </a:r>
          </a:p>
        </p:txBody>
      </p:sp>
      <p:sp>
        <p:nvSpPr>
          <p:cNvPr id="18" name="Freeform 32">
            <a:extLst>
              <a:ext uri="{FF2B5EF4-FFF2-40B4-BE49-F238E27FC236}">
                <a16:creationId xmlns:a16="http://schemas.microsoft.com/office/drawing/2014/main" xmlns="" id="{DC08C769-8D81-4219-A7A1-781001A52817}"/>
              </a:ext>
            </a:extLst>
          </p:cNvPr>
          <p:cNvSpPr>
            <a:spLocks noChangeArrowheads="1"/>
          </p:cNvSpPr>
          <p:nvPr/>
        </p:nvSpPr>
        <p:spPr bwMode="auto">
          <a:xfrm rot="10800000">
            <a:off x="6931141" y="1983462"/>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chemeClr val="accent1"/>
          </a:solidFill>
          <a:ln>
            <a:solidFill>
              <a:srgbClr val="FFFFFF"/>
            </a:solidFill>
          </a:ln>
          <a:effectLst/>
        </p:spPr>
        <p:txBody>
          <a:bodyPr wrap="square" anchor="ctr">
            <a:noAutofit/>
          </a:bodyPr>
          <a:lstStyle/>
          <a:p>
            <a:endParaRPr lang="en-GB" dirty="0">
              <a:latin typeface="Lato Light" panose="020F0502020204030203" pitchFamily="34" charset="0"/>
            </a:endParaRPr>
          </a:p>
        </p:txBody>
      </p:sp>
      <p:sp>
        <p:nvSpPr>
          <p:cNvPr id="19" name="Freeform 31">
            <a:extLst>
              <a:ext uri="{FF2B5EF4-FFF2-40B4-BE49-F238E27FC236}">
                <a16:creationId xmlns:a16="http://schemas.microsoft.com/office/drawing/2014/main" xmlns="" id="{D1D711F9-9FC0-4C85-B417-C5005FC27BEA}"/>
              </a:ext>
            </a:extLst>
          </p:cNvPr>
          <p:cNvSpPr>
            <a:spLocks noChangeArrowheads="1"/>
          </p:cNvSpPr>
          <p:nvPr/>
        </p:nvSpPr>
        <p:spPr bwMode="auto">
          <a:xfrm>
            <a:off x="8839541" y="3895727"/>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chemeClr val="accent4"/>
          </a:solidFill>
          <a:ln>
            <a:solidFill>
              <a:srgbClr val="FFFFFF"/>
            </a:solidFill>
          </a:ln>
          <a:effectLst/>
        </p:spPr>
        <p:txBody>
          <a:bodyPr wrap="square" anchor="ctr">
            <a:noAutofit/>
          </a:bodyPr>
          <a:lstStyle/>
          <a:p>
            <a:endParaRPr lang="en-GB" dirty="0">
              <a:latin typeface="Lato Light" panose="020F0502020204030203" pitchFamily="34" charset="0"/>
            </a:endParaRPr>
          </a:p>
        </p:txBody>
      </p:sp>
      <p:sp>
        <p:nvSpPr>
          <p:cNvPr id="20" name="Freeform 5">
            <a:extLst>
              <a:ext uri="{FF2B5EF4-FFF2-40B4-BE49-F238E27FC236}">
                <a16:creationId xmlns:a16="http://schemas.microsoft.com/office/drawing/2014/main" xmlns="" id="{A2D43CFA-D1AA-4363-80E8-177423FEF384}"/>
              </a:ext>
            </a:extLst>
          </p:cNvPr>
          <p:cNvSpPr>
            <a:spLocks noChangeArrowheads="1"/>
          </p:cNvSpPr>
          <p:nvPr/>
        </p:nvSpPr>
        <p:spPr bwMode="auto">
          <a:xfrm>
            <a:off x="8282640" y="1984575"/>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chemeClr val="accent2"/>
          </a:solidFill>
          <a:ln>
            <a:solidFill>
              <a:srgbClr val="FFFFFF"/>
            </a:solidFill>
          </a:ln>
          <a:effectLst/>
        </p:spPr>
        <p:txBody>
          <a:bodyPr wrap="none" anchor="ctr"/>
          <a:lstStyle/>
          <a:p>
            <a:endParaRPr lang="en-GB" dirty="0">
              <a:latin typeface="Lato Light" panose="020F0502020204030203" pitchFamily="34" charset="0"/>
            </a:endParaRPr>
          </a:p>
        </p:txBody>
      </p:sp>
      <p:sp>
        <p:nvSpPr>
          <p:cNvPr id="21" name="Freeform 7">
            <a:extLst>
              <a:ext uri="{FF2B5EF4-FFF2-40B4-BE49-F238E27FC236}">
                <a16:creationId xmlns:a16="http://schemas.microsoft.com/office/drawing/2014/main" xmlns="" id="{69EA34CA-D0D5-4AC7-A5D1-5875AE8D0490}"/>
              </a:ext>
            </a:extLst>
          </p:cNvPr>
          <p:cNvSpPr>
            <a:spLocks noChangeArrowheads="1"/>
          </p:cNvSpPr>
          <p:nvPr/>
        </p:nvSpPr>
        <p:spPr bwMode="auto">
          <a:xfrm>
            <a:off x="6929941" y="3343479"/>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chemeClr val="accent3"/>
          </a:solidFill>
          <a:ln>
            <a:solidFill>
              <a:srgbClr val="FFFFFF"/>
            </a:solidFill>
          </a:ln>
          <a:effectLst/>
        </p:spPr>
        <p:txBody>
          <a:bodyPr wrap="none" anchor="ctr"/>
          <a:lstStyle/>
          <a:p>
            <a:endParaRPr lang="en-GB" dirty="0">
              <a:latin typeface="Lato Light" panose="020F0502020204030203" pitchFamily="34" charset="0"/>
            </a:endParaRPr>
          </a:p>
        </p:txBody>
      </p:sp>
      <p:sp>
        <p:nvSpPr>
          <p:cNvPr id="22" name="Subtitle 2">
            <a:extLst>
              <a:ext uri="{FF2B5EF4-FFF2-40B4-BE49-F238E27FC236}">
                <a16:creationId xmlns:a16="http://schemas.microsoft.com/office/drawing/2014/main" xmlns="" id="{96E7544E-40D7-45DA-A17F-8D24E1BACB54}"/>
              </a:ext>
            </a:extLst>
          </p:cNvPr>
          <p:cNvSpPr txBox="1">
            <a:spLocks/>
          </p:cNvSpPr>
          <p:nvPr/>
        </p:nvSpPr>
        <p:spPr>
          <a:xfrm>
            <a:off x="7057403" y="2507658"/>
            <a:ext cx="1135201" cy="311632"/>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800" dirty="0">
                <a:solidFill>
                  <a:schemeClr val="bg1"/>
                </a:solidFill>
                <a:latin typeface="+mj-lt"/>
                <a:ea typeface="Lato Light" panose="020F0502020204030203" pitchFamily="34" charset="0"/>
                <a:cs typeface="Mukta ExtraLight" panose="020B0000000000000000" pitchFamily="34" charset="77"/>
              </a:rPr>
              <a:t>be reflexive</a:t>
            </a:r>
          </a:p>
        </p:txBody>
      </p:sp>
      <p:sp>
        <p:nvSpPr>
          <p:cNvPr id="23" name="Subtitle 2">
            <a:extLst>
              <a:ext uri="{FF2B5EF4-FFF2-40B4-BE49-F238E27FC236}">
                <a16:creationId xmlns:a16="http://schemas.microsoft.com/office/drawing/2014/main" xmlns="" id="{86A4AC25-0BFF-4BA1-BF86-263816C9224D}"/>
              </a:ext>
            </a:extLst>
          </p:cNvPr>
          <p:cNvSpPr txBox="1">
            <a:spLocks/>
          </p:cNvSpPr>
          <p:nvPr/>
        </p:nvSpPr>
        <p:spPr>
          <a:xfrm>
            <a:off x="8847292" y="3263133"/>
            <a:ext cx="1785291" cy="588631"/>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800" dirty="0">
                <a:solidFill>
                  <a:schemeClr val="bg1"/>
                </a:solidFill>
                <a:latin typeface="+mj-lt"/>
                <a:ea typeface="Lato Light" panose="020F0502020204030203" pitchFamily="34" charset="0"/>
                <a:cs typeface="Mukta ExtraLight" panose="020B0000000000000000" pitchFamily="34" charset="77"/>
              </a:rPr>
              <a:t>engage with complexity</a:t>
            </a:r>
          </a:p>
        </p:txBody>
      </p:sp>
      <p:sp>
        <p:nvSpPr>
          <p:cNvPr id="24" name="Subtitle 2">
            <a:extLst>
              <a:ext uri="{FF2B5EF4-FFF2-40B4-BE49-F238E27FC236}">
                <a16:creationId xmlns:a16="http://schemas.microsoft.com/office/drawing/2014/main" xmlns="" id="{02A8DBB2-EC9D-439C-A1F4-9528799F0C0C}"/>
              </a:ext>
            </a:extLst>
          </p:cNvPr>
          <p:cNvSpPr txBox="1">
            <a:spLocks/>
          </p:cNvSpPr>
          <p:nvPr/>
        </p:nvSpPr>
        <p:spPr>
          <a:xfrm>
            <a:off x="6923039" y="3840001"/>
            <a:ext cx="1908048" cy="819463"/>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700" dirty="0">
                <a:solidFill>
                  <a:schemeClr val="bg1"/>
                </a:solidFill>
                <a:latin typeface="+mj-lt"/>
                <a:ea typeface="Lato Light" panose="020F0502020204030203" pitchFamily="34" charset="0"/>
                <a:cs typeface="Mukta ExtraLight" panose="020B0000000000000000" pitchFamily="34" charset="77"/>
              </a:rPr>
              <a:t>avoid knee-jerk </a:t>
            </a:r>
            <a:br>
              <a:rPr lang="en-GB" sz="1700" dirty="0">
                <a:solidFill>
                  <a:schemeClr val="bg1"/>
                </a:solidFill>
                <a:latin typeface="+mj-lt"/>
                <a:ea typeface="Lato Light" panose="020F0502020204030203" pitchFamily="34" charset="0"/>
                <a:cs typeface="Mukta ExtraLight" panose="020B0000000000000000" pitchFamily="34" charset="77"/>
              </a:rPr>
            </a:br>
            <a:r>
              <a:rPr lang="en-GB" sz="1700" dirty="0">
                <a:solidFill>
                  <a:schemeClr val="bg1"/>
                </a:solidFill>
                <a:latin typeface="+mj-lt"/>
                <a:ea typeface="Lato Light" panose="020F0502020204030203" pitchFamily="34" charset="0"/>
                <a:cs typeface="Mukta ExtraLight" panose="020B0000000000000000" pitchFamily="34" charset="77"/>
              </a:rPr>
              <a:t>reactions – </a:t>
            </a:r>
            <a:br>
              <a:rPr lang="en-GB" sz="1700" dirty="0">
                <a:solidFill>
                  <a:schemeClr val="bg1"/>
                </a:solidFill>
                <a:latin typeface="+mj-lt"/>
                <a:ea typeface="Lato Light" panose="020F0502020204030203" pitchFamily="34" charset="0"/>
                <a:cs typeface="Mukta ExtraLight" panose="020B0000000000000000" pitchFamily="34" charset="77"/>
              </a:rPr>
            </a:br>
            <a:r>
              <a:rPr lang="en-GB" sz="1700" dirty="0">
                <a:solidFill>
                  <a:schemeClr val="bg1"/>
                </a:solidFill>
                <a:latin typeface="+mj-lt"/>
                <a:ea typeface="Lato Light" panose="020F0502020204030203" pitchFamily="34" charset="0"/>
                <a:cs typeface="Mukta ExtraLight" panose="020B0000000000000000" pitchFamily="34" charset="77"/>
              </a:rPr>
              <a:t>‘pendulum effect’</a:t>
            </a:r>
          </a:p>
        </p:txBody>
      </p:sp>
      <p:sp>
        <p:nvSpPr>
          <p:cNvPr id="25" name="Subtitle 2">
            <a:extLst>
              <a:ext uri="{FF2B5EF4-FFF2-40B4-BE49-F238E27FC236}">
                <a16:creationId xmlns:a16="http://schemas.microsoft.com/office/drawing/2014/main" xmlns="" id="{97ABA259-352E-4842-8133-1114C353BCAE}"/>
              </a:ext>
            </a:extLst>
          </p:cNvPr>
          <p:cNvSpPr txBox="1">
            <a:spLocks/>
          </p:cNvSpPr>
          <p:nvPr/>
        </p:nvSpPr>
        <p:spPr>
          <a:xfrm>
            <a:off x="8839190" y="4987429"/>
            <a:ext cx="1893080" cy="865630"/>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800" dirty="0">
                <a:solidFill>
                  <a:schemeClr val="bg1"/>
                </a:solidFill>
                <a:latin typeface="+mj-lt"/>
                <a:ea typeface="Lato Light" panose="020F0502020204030203" pitchFamily="34" charset="0"/>
                <a:cs typeface="Mukta ExtraLight" panose="020B0000000000000000" pitchFamily="34" charset="77"/>
              </a:rPr>
              <a:t>be willing to challenge</a:t>
            </a:r>
            <a:br>
              <a:rPr lang="en-GB" sz="1800" dirty="0">
                <a:solidFill>
                  <a:schemeClr val="bg1"/>
                </a:solidFill>
                <a:latin typeface="+mj-lt"/>
                <a:ea typeface="Lato Light" panose="020F0502020204030203" pitchFamily="34" charset="0"/>
                <a:cs typeface="Mukta ExtraLight" panose="020B0000000000000000" pitchFamily="34" charset="77"/>
              </a:rPr>
            </a:br>
            <a:r>
              <a:rPr lang="en-GB" sz="1800" dirty="0">
                <a:solidFill>
                  <a:schemeClr val="bg1"/>
                </a:solidFill>
                <a:latin typeface="+mj-lt"/>
                <a:ea typeface="Lato Light" panose="020F0502020204030203" pitchFamily="34" charset="0"/>
                <a:cs typeface="Mukta ExtraLight" panose="020B0000000000000000" pitchFamily="34" charset="77"/>
              </a:rPr>
              <a:t> and be challenged</a:t>
            </a:r>
          </a:p>
        </p:txBody>
      </p:sp>
      <p:sp>
        <p:nvSpPr>
          <p:cNvPr id="26" name="Freeform 8">
            <a:extLst>
              <a:ext uri="{FF2B5EF4-FFF2-40B4-BE49-F238E27FC236}">
                <a16:creationId xmlns:a16="http://schemas.microsoft.com/office/drawing/2014/main" xmlns="" id="{BD623A5E-CA34-4F22-90F9-4BCE20E7038D}"/>
              </a:ext>
            </a:extLst>
          </p:cNvPr>
          <p:cNvSpPr>
            <a:spLocks/>
          </p:cNvSpPr>
          <p:nvPr/>
        </p:nvSpPr>
        <p:spPr bwMode="auto">
          <a:xfrm>
            <a:off x="5456180" y="1982730"/>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chemeClr val="accent6"/>
          </a:solidFill>
          <a:ln>
            <a:noFill/>
          </a:ln>
        </p:spPr>
        <p:txBody>
          <a:bodyPr wrap="none" anchor="ctr"/>
          <a:lstStyle/>
          <a:p>
            <a:endParaRPr lang="en-GB" dirty="0">
              <a:latin typeface="Lato Light" panose="020F0502020204030203" pitchFamily="34" charset="0"/>
            </a:endParaRPr>
          </a:p>
        </p:txBody>
      </p:sp>
    </p:spTree>
    <p:extLst>
      <p:ext uri="{BB962C8B-B14F-4D97-AF65-F5344CB8AC3E}">
        <p14:creationId xmlns:p14="http://schemas.microsoft.com/office/powerpoint/2010/main" val="3891609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89</TotalTime>
  <Words>2612</Words>
  <Application>Microsoft Office PowerPoint</Application>
  <PresentationFormat>Custom</PresentationFormat>
  <Paragraphs>337</Paragraphs>
  <Slides>28</Slides>
  <Notes>2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0" baseType="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36</cp:revision>
  <cp:lastPrinted>2021-03-13T09:15:27Z</cp:lastPrinted>
  <dcterms:created xsi:type="dcterms:W3CDTF">2020-11-22T23:34:59Z</dcterms:created>
  <dcterms:modified xsi:type="dcterms:W3CDTF">2022-04-21T14:34:32Z</dcterms:modified>
</cp:coreProperties>
</file>